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gif" ContentType="image/gi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2.xml" ContentType="application/vnd.openxmlformats-officedocument.theme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removePersonalInfoOnSave="1" saveSubsetFonts="1" autoCompressPictures="0">
  <p:sldMasterIdLst>
    <p:sldMasterId id="2147483648" r:id="rId4"/>
    <p:sldMasterId id="2147483794" r:id="rId5"/>
  </p:sldMasterIdLst>
  <p:notesMasterIdLst>
    <p:notesMasterId r:id="rId13"/>
  </p:notesMasterIdLst>
  <p:handoutMasterIdLst>
    <p:handoutMasterId r:id="rId14"/>
  </p:handoutMasterIdLst>
  <p:sldIdLst>
    <p:sldId id="355" r:id="rId6"/>
    <p:sldId id="358" r:id="rId7"/>
    <p:sldId id="359" r:id="rId8"/>
    <p:sldId id="361" r:id="rId9"/>
    <p:sldId id="362" r:id="rId10"/>
    <p:sldId id="363" r:id="rId11"/>
    <p:sldId id="375" r:id="rId12"/>
  </p:sldIdLst>
  <p:sldSz cx="9144000" cy="5143500" type="screen16x9"/>
  <p:notesSz cx="6808788" cy="9940925"/>
  <p:custDataLst>
    <p:tags r:id="rId1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22">
          <p15:clr>
            <a:srgbClr val="A4A3A4"/>
          </p15:clr>
        </p15:guide>
        <p15:guide id="2" orient="horz">
          <p15:clr>
            <a:srgbClr val="A4A3A4"/>
          </p15:clr>
        </p15:guide>
        <p15:guide id="3" orient="horz" pos="2981">
          <p15:clr>
            <a:srgbClr val="A4A3A4"/>
          </p15:clr>
        </p15:guide>
        <p15:guide id="4" pos="158">
          <p15:clr>
            <a:srgbClr val="A4A3A4"/>
          </p15:clr>
        </p15:guide>
        <p15:guide id="5" pos="521">
          <p15:clr>
            <a:srgbClr val="A4A3A4"/>
          </p15:clr>
        </p15:guide>
        <p15:guide id="6" pos="3787">
          <p15:clr>
            <a:srgbClr val="A4A3A4"/>
          </p15:clr>
        </p15:guide>
        <p15:guide id="7" pos="5193">
          <p15:clr>
            <a:srgbClr val="A4A3A4"/>
          </p15:clr>
        </p15:guide>
        <p15:guide id="8" pos="5602">
          <p15:clr>
            <a:srgbClr val="A4A3A4"/>
          </p15:clr>
        </p15:guide>
        <p15:guide id="9" pos="564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1">
          <p15:clr>
            <a:srgbClr val="A4A3A4"/>
          </p15:clr>
        </p15:guide>
        <p15:guide id="2" pos="3946">
          <p15:clr>
            <a:srgbClr val="A4A3A4"/>
          </p15:clr>
        </p15:guide>
        <p15:guide id="3" pos="343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D1E1E"/>
    <a:srgbClr val="E73440"/>
    <a:srgbClr val="C07000"/>
    <a:srgbClr val="8B8807"/>
    <a:srgbClr val="1BA12B"/>
    <a:srgbClr val="7E7D76"/>
    <a:srgbClr val="1782DB"/>
    <a:srgbClr val="706AB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808" autoAdjust="0"/>
    <p:restoredTop sz="99813" autoAdjust="0"/>
  </p:normalViewPr>
  <p:slideViewPr>
    <p:cSldViewPr showGuides="1">
      <p:cViewPr varScale="1">
        <p:scale>
          <a:sx n="135" d="100"/>
          <a:sy n="135" d="100"/>
        </p:scale>
        <p:origin x="115" y="77"/>
      </p:cViewPr>
      <p:guideLst>
        <p:guide orient="horz" pos="622"/>
        <p:guide orient="horz"/>
        <p:guide orient="horz" pos="2981"/>
        <p:guide pos="158"/>
        <p:guide pos="521"/>
        <p:guide pos="3787"/>
        <p:guide pos="5193"/>
        <p:guide pos="5602"/>
        <p:guide pos="5647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howGuides="1">
      <p:cViewPr>
        <p:scale>
          <a:sx n="75" d="100"/>
          <a:sy n="75" d="100"/>
        </p:scale>
        <p:origin x="-1308" y="-360"/>
      </p:cViewPr>
      <p:guideLst>
        <p:guide orient="horz" pos="3131"/>
        <p:guide pos="3946"/>
        <p:guide pos="34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tags" Target="tags/tag1.xml"/><Relationship Id="rId10" Type="http://schemas.openxmlformats.org/officeDocument/2006/relationships/slide" Target="slides/slide5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858315" y="1"/>
            <a:ext cx="2930817" cy="544011"/>
          </a:xfrm>
          <a:prstGeom prst="rect">
            <a:avLst/>
          </a:prstGeom>
        </p:spPr>
        <p:txBody>
          <a:bodyPr vert="horz" lIns="124024" tIns="62013" rIns="124024" bIns="62013" rtlCol="0"/>
          <a:lstStyle>
            <a:lvl1pPr algn="l">
              <a:defRPr sz="1600"/>
            </a:lvl1pPr>
          </a:lstStyle>
          <a:p>
            <a:pPr algn="r"/>
            <a:endParaRPr lang="en-US" sz="110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0" y="1"/>
            <a:ext cx="2930817" cy="544011"/>
          </a:xfrm>
          <a:prstGeom prst="rect">
            <a:avLst/>
          </a:prstGeom>
        </p:spPr>
        <p:txBody>
          <a:bodyPr vert="horz" lIns="124024" tIns="62013" rIns="124024" bIns="62013" rtlCol="0"/>
          <a:lstStyle>
            <a:lvl1pPr algn="r">
              <a:defRPr sz="1600"/>
            </a:lvl1pPr>
          </a:lstStyle>
          <a:p>
            <a:pPr algn="l"/>
            <a:fld id="{999580FB-A1A7-4BFA-8980-0CB90ED5CC13}" type="datetimeFigureOut">
              <a:rPr lang="en-US" sz="1100"/>
              <a:pPr algn="l"/>
              <a:t>9/7/2016</a:t>
            </a:fld>
            <a:endParaRPr lang="en-US" sz="1100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3"/>
          </p:nvPr>
        </p:nvSpPr>
        <p:spPr>
          <a:xfrm>
            <a:off x="3856738" y="9396915"/>
            <a:ext cx="2930817" cy="544011"/>
          </a:xfrm>
          <a:prstGeom prst="rect">
            <a:avLst/>
          </a:prstGeom>
        </p:spPr>
        <p:txBody>
          <a:bodyPr vert="horz" lIns="124024" tIns="62013" rIns="124024" bIns="62013" rtlCol="0" anchor="b"/>
          <a:lstStyle>
            <a:lvl1pPr algn="r">
              <a:defRPr sz="1600"/>
            </a:lvl1pPr>
          </a:lstStyle>
          <a:p>
            <a:fld id="{3A0D310C-11CC-44CF-B61D-C36BD5A4E9FA}" type="slidenum">
              <a:rPr lang="en-US" sz="1100"/>
              <a:pPr/>
              <a:t>‹#›</a:t>
            </a:fld>
            <a:endParaRPr lang="en-US" sz="1100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2"/>
          </p:nvPr>
        </p:nvSpPr>
        <p:spPr>
          <a:xfrm>
            <a:off x="0" y="9396915"/>
            <a:ext cx="2930817" cy="544011"/>
          </a:xfrm>
          <a:prstGeom prst="rect">
            <a:avLst/>
          </a:prstGeom>
        </p:spPr>
        <p:txBody>
          <a:bodyPr vert="horz" lIns="124024" tIns="62013" rIns="124024" bIns="62013" rtlCol="0" anchor="b"/>
          <a:lstStyle>
            <a:lvl1pPr algn="l">
              <a:defRPr sz="1600"/>
            </a:lvl1pPr>
          </a:lstStyle>
          <a:p>
            <a:r>
              <a:rPr lang="en-US" sz="1100" dirty="0"/>
              <a:t>Copyright 2011 FUJITSU</a:t>
            </a:r>
          </a:p>
        </p:txBody>
      </p:sp>
    </p:spTree>
    <p:extLst>
      <p:ext uri="{BB962C8B-B14F-4D97-AF65-F5344CB8AC3E}">
        <p14:creationId xmlns:p14="http://schemas.microsoft.com/office/powerpoint/2010/main" val="2103946550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e Placeholder 13"/>
          <p:cNvSpPr>
            <a:spLocks noGrp="1"/>
          </p:cNvSpPr>
          <p:nvPr>
            <p:ph type="dt" idx="1"/>
          </p:nvPr>
        </p:nvSpPr>
        <p:spPr>
          <a:xfrm>
            <a:off x="0" y="1"/>
            <a:ext cx="2930817" cy="544011"/>
          </a:xfrm>
          <a:prstGeom prst="rect">
            <a:avLst/>
          </a:prstGeom>
        </p:spPr>
        <p:txBody>
          <a:bodyPr vert="horz" lIns="124024" tIns="62013" rIns="124024" bIns="62013" rtlCol="0"/>
          <a:lstStyle>
            <a:lvl1pPr algn="l">
              <a:defRPr sz="1100"/>
            </a:lvl1pPr>
          </a:lstStyle>
          <a:p>
            <a:fld id="{9AF53C10-58A7-45D0-B2D2-D1576F087AB5}" type="datetimeFigureOut">
              <a:rPr lang="en-US" noProof="0" smtClean="0"/>
              <a:pPr/>
              <a:t>9/7/2016</a:t>
            </a:fld>
            <a:endParaRPr lang="en-US" noProof="0" dirty="0"/>
          </a:p>
        </p:txBody>
      </p:sp>
      <p:sp>
        <p:nvSpPr>
          <p:cNvPr id="15" name="Header Placeholder 14"/>
          <p:cNvSpPr>
            <a:spLocks noGrp="1"/>
          </p:cNvSpPr>
          <p:nvPr>
            <p:ph type="hdr" sz="quarter"/>
          </p:nvPr>
        </p:nvSpPr>
        <p:spPr>
          <a:xfrm>
            <a:off x="3858315" y="1"/>
            <a:ext cx="2930817" cy="544011"/>
          </a:xfrm>
          <a:prstGeom prst="rect">
            <a:avLst/>
          </a:prstGeom>
        </p:spPr>
        <p:txBody>
          <a:bodyPr vert="horz" lIns="124024" tIns="62013" rIns="124024" bIns="62013" rtlCol="0"/>
          <a:lstStyle>
            <a:lvl1pPr algn="r">
              <a:defRPr sz="1100"/>
            </a:lvl1pPr>
          </a:lstStyle>
          <a:p>
            <a:endParaRPr lang="en-US" noProof="0" dirty="0"/>
          </a:p>
        </p:txBody>
      </p:sp>
      <p:sp>
        <p:nvSpPr>
          <p:cNvPr id="16" name="Slide Image Placeholder 15"/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46125"/>
            <a:ext cx="6624638" cy="3725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24024" tIns="62013" rIns="124024" bIns="62013" rtlCol="0" anchor="ctr"/>
          <a:lstStyle/>
          <a:p>
            <a:endParaRPr lang="en-US" noProof="0" dirty="0"/>
          </a:p>
        </p:txBody>
      </p:sp>
      <p:sp>
        <p:nvSpPr>
          <p:cNvPr id="23" name="Slide Number Placeholder 22"/>
          <p:cNvSpPr>
            <a:spLocks noGrp="1"/>
          </p:cNvSpPr>
          <p:nvPr>
            <p:ph type="sldNum" sz="quarter" idx="5"/>
          </p:nvPr>
        </p:nvSpPr>
        <p:spPr>
          <a:xfrm>
            <a:off x="3856738" y="9396915"/>
            <a:ext cx="2930817" cy="544011"/>
          </a:xfrm>
          <a:prstGeom prst="rect">
            <a:avLst/>
          </a:prstGeom>
        </p:spPr>
        <p:txBody>
          <a:bodyPr vert="horz" lIns="124024" tIns="62013" rIns="124024" bIns="62013" rtlCol="0" anchor="b"/>
          <a:lstStyle>
            <a:lvl1pPr algn="r">
              <a:defRPr sz="1100"/>
            </a:lvl1pPr>
          </a:lstStyle>
          <a:p>
            <a:fld id="{12BC81D3-C59B-4C63-B840-07ACB8BAB3C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24" name="Footer Placeholder 23"/>
          <p:cNvSpPr>
            <a:spLocks noGrp="1"/>
          </p:cNvSpPr>
          <p:nvPr>
            <p:ph type="ftr" sz="quarter" idx="4"/>
          </p:nvPr>
        </p:nvSpPr>
        <p:spPr>
          <a:xfrm>
            <a:off x="0" y="9396915"/>
            <a:ext cx="2930817" cy="544011"/>
          </a:xfrm>
          <a:prstGeom prst="rect">
            <a:avLst/>
          </a:prstGeom>
        </p:spPr>
        <p:txBody>
          <a:bodyPr vert="horz" lIns="124024" tIns="62013" rIns="124024" bIns="62013" rtlCol="0" anchor="b"/>
          <a:lstStyle>
            <a:lvl1pPr algn="l">
              <a:defRPr sz="1100"/>
            </a:lvl1pPr>
          </a:lstStyle>
          <a:p>
            <a:r>
              <a:rPr lang="en-US" noProof="0" dirty="0" smtClean="0"/>
              <a:t>Copyright 2011 FUJITSU</a:t>
            </a:r>
            <a:endParaRPr lang="en-US" noProof="0" dirty="0"/>
          </a:p>
        </p:txBody>
      </p:sp>
      <p:sp>
        <p:nvSpPr>
          <p:cNvPr id="30" name="Notes Placeholder 29"/>
          <p:cNvSpPr>
            <a:spLocks noGrp="1"/>
          </p:cNvSpPr>
          <p:nvPr>
            <p:ph type="body" sz="quarter" idx="3"/>
          </p:nvPr>
        </p:nvSpPr>
        <p:spPr>
          <a:xfrm>
            <a:off x="545335" y="4970464"/>
            <a:ext cx="5718121" cy="42248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525460236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182563" indent="-182563" algn="l" defTabSz="914400" rtl="0" eaLnBrk="1" latinLnBrk="0" hangingPunct="1">
      <a:spcBef>
        <a:spcPts val="516"/>
      </a:spcBef>
      <a:spcAft>
        <a:spcPts val="288"/>
      </a:spcAft>
      <a:buClr>
        <a:schemeClr val="accent2"/>
      </a:buClr>
      <a:buFont typeface="Wingdings" pitchFamily="2" charset="2"/>
      <a:buChar char="n"/>
      <a:defRPr sz="16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358775" indent="-176213" algn="l" defTabSz="914400" rtl="0" eaLnBrk="1" latinLnBrk="0" hangingPunct="1">
      <a:spcAft>
        <a:spcPts val="288"/>
      </a:spcAft>
      <a:buClr>
        <a:schemeClr val="tx2"/>
      </a:buClr>
      <a:buFont typeface="Wingdings" pitchFamily="2" charset="2"/>
      <a:buChar char="n"/>
      <a:defRPr sz="14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449263" indent="-90488" algn="l" defTabSz="914400" rtl="0" eaLnBrk="1" latinLnBrk="0" hangingPunct="1">
      <a:spcBef>
        <a:spcPts val="432"/>
      </a:spcBef>
      <a:spcAft>
        <a:spcPts val="240"/>
      </a:spcAft>
      <a:buClr>
        <a:schemeClr val="tx2"/>
      </a:buClr>
      <a:buFont typeface="Arial" pitchFamily="34" charset="0"/>
      <a:buChar char="•"/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541338" indent="-92075" algn="l" defTabSz="914400" rtl="0" eaLnBrk="1" latinLnBrk="0" hangingPunct="1">
      <a:spcBef>
        <a:spcPts val="384"/>
      </a:spcBef>
      <a:spcAft>
        <a:spcPts val="216"/>
      </a:spcAft>
      <a:buClr>
        <a:schemeClr val="tx2"/>
      </a:buClr>
      <a:buFont typeface="Arial" pitchFamily="34" charset="0"/>
      <a:buChar char="•"/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625475" indent="-84138" algn="l" defTabSz="914400" rtl="0" eaLnBrk="1" latinLnBrk="0" hangingPunct="1">
      <a:spcBef>
        <a:spcPts val="336"/>
      </a:spcBef>
      <a:spcAft>
        <a:spcPts val="192"/>
      </a:spcAft>
      <a:buClr>
        <a:schemeClr val="tx2"/>
      </a:buClr>
      <a:buFont typeface="Arial" pitchFamily="34" charset="0"/>
      <a:buChar char="•"/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BC81D3-C59B-4C63-B840-07ACB8BAB3C6}" type="slidenum">
              <a:rPr lang="en-US" noProof="0" smtClean="0"/>
              <a:pPr/>
              <a:t>0</a:t>
            </a:fld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 smtClean="0"/>
              <a:t>Copyright 2011 FUJITSU</a:t>
            </a:r>
            <a:endParaRPr lang="en-US" noProof="0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BC81D3-C59B-4C63-B840-07ACB8BAB3C6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27812" cy="3727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Copyright 2011 FUJITSU</a:t>
            </a:r>
            <a:endParaRPr lang="en-GB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Rectangle 6"/>
          <p:cNvSpPr>
            <a:spLocks noGrp="1" noChangeArrowheads="1"/>
          </p:cNvSpPr>
          <p:nvPr>
            <p:ph type="ftr" sz="quarter" idx="4"/>
          </p:nvPr>
        </p:nvSpPr>
        <p:spPr>
          <a:xfrm>
            <a:off x="2" y="9441881"/>
            <a:ext cx="2951063" cy="497446"/>
          </a:xfrm>
          <a:prstGeom prst="rect">
            <a:avLst/>
          </a:prstGeom>
        </p:spPr>
        <p:txBody>
          <a:bodyPr lIns="92229" tIns="46116" rIns="92229" bIns="46116"/>
          <a:lstStyle/>
          <a:p>
            <a:pPr>
              <a:defRPr/>
            </a:pPr>
            <a:r>
              <a:rPr lang="en-US" dirty="0">
                <a:latin typeface="Arial"/>
              </a:rPr>
              <a:t>Copyright 2009 FUJITSU LIMITED</a:t>
            </a:r>
          </a:p>
        </p:txBody>
      </p:sp>
      <p:sp>
        <p:nvSpPr>
          <p:cNvPr id="61443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1D69028-1923-453C-89EB-11A9F91B5A40}" type="slidenum">
              <a:rPr lang="en-US">
                <a:latin typeface="Arial"/>
              </a:rPr>
              <a:pPr>
                <a:defRPr/>
              </a:pPr>
              <a:t>2</a:t>
            </a:fld>
            <a:endParaRPr lang="en-US" dirty="0">
              <a:latin typeface="Arial"/>
            </a:endParaRPr>
          </a:p>
        </p:txBody>
      </p:sp>
      <p:sp>
        <p:nvSpPr>
          <p:cNvPr id="8806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76250" y="392113"/>
            <a:ext cx="5918200" cy="3328987"/>
          </a:xfrm>
          <a:ln/>
        </p:spPr>
      </p:sp>
      <p:sp>
        <p:nvSpPr>
          <p:cNvPr id="8806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37499" y="3797228"/>
            <a:ext cx="6335397" cy="5585473"/>
          </a:xfrm>
          <a:noFill/>
          <a:ln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 smtClean="0"/>
              <a:t>Copyright 2011 FUJITSU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2BC81D3-C59B-4C63-B840-07ACB8BAB3C6}" type="slidenum">
              <a:rPr lang="en-GB" smtClean="0"/>
              <a:pPr/>
              <a:t>6</a:t>
            </a:fld>
            <a:endParaRPr lang="en-GB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3.xml"/><Relationship Id="rId1" Type="http://schemas.openxmlformats.org/officeDocument/2006/relationships/tags" Target="../tags/tag12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4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5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6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7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8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9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0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26" Type="http://schemas.openxmlformats.org/officeDocument/2006/relationships/tags" Target="../tags/tag29.xml"/><Relationship Id="rId39" Type="http://schemas.openxmlformats.org/officeDocument/2006/relationships/tags" Target="../tags/tag42.xml"/><Relationship Id="rId21" Type="http://schemas.openxmlformats.org/officeDocument/2006/relationships/tags" Target="../tags/tag24.xml"/><Relationship Id="rId34" Type="http://schemas.openxmlformats.org/officeDocument/2006/relationships/tags" Target="../tags/tag37.xml"/><Relationship Id="rId42" Type="http://schemas.openxmlformats.org/officeDocument/2006/relationships/tags" Target="../tags/tag45.xml"/><Relationship Id="rId47" Type="http://schemas.openxmlformats.org/officeDocument/2006/relationships/tags" Target="../tags/tag50.xml"/><Relationship Id="rId50" Type="http://schemas.openxmlformats.org/officeDocument/2006/relationships/tags" Target="../tags/tag53.xml"/><Relationship Id="rId7" Type="http://schemas.openxmlformats.org/officeDocument/2006/relationships/tags" Target="../tags/tag10.xml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9" Type="http://schemas.openxmlformats.org/officeDocument/2006/relationships/tags" Target="../tags/tag32.xml"/><Relationship Id="rId11" Type="http://schemas.openxmlformats.org/officeDocument/2006/relationships/tags" Target="../tags/tag14.xml"/><Relationship Id="rId24" Type="http://schemas.openxmlformats.org/officeDocument/2006/relationships/tags" Target="../tags/tag27.xml"/><Relationship Id="rId32" Type="http://schemas.openxmlformats.org/officeDocument/2006/relationships/tags" Target="../tags/tag35.xml"/><Relationship Id="rId37" Type="http://schemas.openxmlformats.org/officeDocument/2006/relationships/tags" Target="../tags/tag40.xml"/><Relationship Id="rId40" Type="http://schemas.openxmlformats.org/officeDocument/2006/relationships/tags" Target="../tags/tag43.xml"/><Relationship Id="rId45" Type="http://schemas.openxmlformats.org/officeDocument/2006/relationships/tags" Target="../tags/tag48.xml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23" Type="http://schemas.openxmlformats.org/officeDocument/2006/relationships/tags" Target="../tags/tag26.xml"/><Relationship Id="rId28" Type="http://schemas.openxmlformats.org/officeDocument/2006/relationships/tags" Target="../tags/tag31.xml"/><Relationship Id="rId36" Type="http://schemas.openxmlformats.org/officeDocument/2006/relationships/tags" Target="../tags/tag39.xml"/><Relationship Id="rId49" Type="http://schemas.openxmlformats.org/officeDocument/2006/relationships/tags" Target="../tags/tag52.xml"/><Relationship Id="rId10" Type="http://schemas.openxmlformats.org/officeDocument/2006/relationships/tags" Target="../tags/tag13.xml"/><Relationship Id="rId19" Type="http://schemas.openxmlformats.org/officeDocument/2006/relationships/tags" Target="../tags/tag22.xml"/><Relationship Id="rId31" Type="http://schemas.openxmlformats.org/officeDocument/2006/relationships/tags" Target="../tags/tag34.xml"/><Relationship Id="rId44" Type="http://schemas.openxmlformats.org/officeDocument/2006/relationships/tags" Target="../tags/tag47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tags" Target="../tags/tag25.xml"/><Relationship Id="rId27" Type="http://schemas.openxmlformats.org/officeDocument/2006/relationships/tags" Target="../tags/tag30.xml"/><Relationship Id="rId30" Type="http://schemas.openxmlformats.org/officeDocument/2006/relationships/tags" Target="../tags/tag33.xml"/><Relationship Id="rId35" Type="http://schemas.openxmlformats.org/officeDocument/2006/relationships/tags" Target="../tags/tag38.xml"/><Relationship Id="rId43" Type="http://schemas.openxmlformats.org/officeDocument/2006/relationships/tags" Target="../tags/tag46.xml"/><Relationship Id="rId48" Type="http://schemas.openxmlformats.org/officeDocument/2006/relationships/tags" Target="../tags/tag51.xml"/><Relationship Id="rId8" Type="http://schemas.openxmlformats.org/officeDocument/2006/relationships/tags" Target="../tags/tag11.xml"/><Relationship Id="rId51" Type="http://schemas.openxmlformats.org/officeDocument/2006/relationships/slideMaster" Target="../slideMasters/slideMaster1.xml"/><Relationship Id="rId3" Type="http://schemas.openxmlformats.org/officeDocument/2006/relationships/tags" Target="../tags/tag6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tags" Target="../tags/tag28.xml"/><Relationship Id="rId33" Type="http://schemas.openxmlformats.org/officeDocument/2006/relationships/tags" Target="../tags/tag36.xml"/><Relationship Id="rId38" Type="http://schemas.openxmlformats.org/officeDocument/2006/relationships/tags" Target="../tags/tag41.xml"/><Relationship Id="rId46" Type="http://schemas.openxmlformats.org/officeDocument/2006/relationships/tags" Target="../tags/tag49.xml"/><Relationship Id="rId20" Type="http://schemas.openxmlformats.org/officeDocument/2006/relationships/tags" Target="../tags/tag23.xml"/><Relationship Id="rId41" Type="http://schemas.openxmlformats.org/officeDocument/2006/relationships/tags" Target="../tags/tag44.xml"/><Relationship Id="rId1" Type="http://schemas.openxmlformats.org/officeDocument/2006/relationships/tags" Target="../tags/tag4.xml"/><Relationship Id="rId6" Type="http://schemas.openxmlformats.org/officeDocument/2006/relationships/tags" Target="../tags/tag9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3.xml"/><Relationship Id="rId1" Type="http://schemas.openxmlformats.org/officeDocument/2006/relationships/tags" Target="../tags/tag13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4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5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3" Type="http://schemas.openxmlformats.org/officeDocument/2006/relationships/tags" Target="../tags/tag149.xml"/><Relationship Id="rId18" Type="http://schemas.openxmlformats.org/officeDocument/2006/relationships/tags" Target="../tags/tag154.xml"/><Relationship Id="rId26" Type="http://schemas.openxmlformats.org/officeDocument/2006/relationships/tags" Target="../tags/tag162.xml"/><Relationship Id="rId39" Type="http://schemas.openxmlformats.org/officeDocument/2006/relationships/tags" Target="../tags/tag175.xml"/><Relationship Id="rId21" Type="http://schemas.openxmlformats.org/officeDocument/2006/relationships/tags" Target="../tags/tag157.xml"/><Relationship Id="rId34" Type="http://schemas.openxmlformats.org/officeDocument/2006/relationships/tags" Target="../tags/tag170.xml"/><Relationship Id="rId42" Type="http://schemas.openxmlformats.org/officeDocument/2006/relationships/tags" Target="../tags/tag178.xml"/><Relationship Id="rId47" Type="http://schemas.openxmlformats.org/officeDocument/2006/relationships/tags" Target="../tags/tag183.xml"/><Relationship Id="rId50" Type="http://schemas.openxmlformats.org/officeDocument/2006/relationships/tags" Target="../tags/tag186.xml"/><Relationship Id="rId55" Type="http://schemas.openxmlformats.org/officeDocument/2006/relationships/tags" Target="../tags/tag191.xml"/><Relationship Id="rId7" Type="http://schemas.openxmlformats.org/officeDocument/2006/relationships/tags" Target="../tags/tag143.xml"/><Relationship Id="rId2" Type="http://schemas.openxmlformats.org/officeDocument/2006/relationships/tags" Target="../tags/tag138.xml"/><Relationship Id="rId16" Type="http://schemas.openxmlformats.org/officeDocument/2006/relationships/tags" Target="../tags/tag152.xml"/><Relationship Id="rId29" Type="http://schemas.openxmlformats.org/officeDocument/2006/relationships/tags" Target="../tags/tag165.xml"/><Relationship Id="rId11" Type="http://schemas.openxmlformats.org/officeDocument/2006/relationships/tags" Target="../tags/tag147.xml"/><Relationship Id="rId24" Type="http://schemas.openxmlformats.org/officeDocument/2006/relationships/tags" Target="../tags/tag160.xml"/><Relationship Id="rId32" Type="http://schemas.openxmlformats.org/officeDocument/2006/relationships/tags" Target="../tags/tag168.xml"/><Relationship Id="rId37" Type="http://schemas.openxmlformats.org/officeDocument/2006/relationships/tags" Target="../tags/tag173.xml"/><Relationship Id="rId40" Type="http://schemas.openxmlformats.org/officeDocument/2006/relationships/tags" Target="../tags/tag176.xml"/><Relationship Id="rId45" Type="http://schemas.openxmlformats.org/officeDocument/2006/relationships/tags" Target="../tags/tag181.xml"/><Relationship Id="rId53" Type="http://schemas.openxmlformats.org/officeDocument/2006/relationships/tags" Target="../tags/tag189.xml"/><Relationship Id="rId58" Type="http://schemas.openxmlformats.org/officeDocument/2006/relationships/tags" Target="../tags/tag194.xml"/><Relationship Id="rId5" Type="http://schemas.openxmlformats.org/officeDocument/2006/relationships/tags" Target="../tags/tag141.xml"/><Relationship Id="rId19" Type="http://schemas.openxmlformats.org/officeDocument/2006/relationships/tags" Target="../tags/tag155.xml"/><Relationship Id="rId4" Type="http://schemas.openxmlformats.org/officeDocument/2006/relationships/tags" Target="../tags/tag140.xml"/><Relationship Id="rId9" Type="http://schemas.openxmlformats.org/officeDocument/2006/relationships/tags" Target="../tags/tag145.xml"/><Relationship Id="rId14" Type="http://schemas.openxmlformats.org/officeDocument/2006/relationships/tags" Target="../tags/tag150.xml"/><Relationship Id="rId22" Type="http://schemas.openxmlformats.org/officeDocument/2006/relationships/tags" Target="../tags/tag158.xml"/><Relationship Id="rId27" Type="http://schemas.openxmlformats.org/officeDocument/2006/relationships/tags" Target="../tags/tag163.xml"/><Relationship Id="rId30" Type="http://schemas.openxmlformats.org/officeDocument/2006/relationships/tags" Target="../tags/tag166.xml"/><Relationship Id="rId35" Type="http://schemas.openxmlformats.org/officeDocument/2006/relationships/tags" Target="../tags/tag171.xml"/><Relationship Id="rId43" Type="http://schemas.openxmlformats.org/officeDocument/2006/relationships/tags" Target="../tags/tag179.xml"/><Relationship Id="rId48" Type="http://schemas.openxmlformats.org/officeDocument/2006/relationships/tags" Target="../tags/tag184.xml"/><Relationship Id="rId56" Type="http://schemas.openxmlformats.org/officeDocument/2006/relationships/tags" Target="../tags/tag192.xml"/><Relationship Id="rId8" Type="http://schemas.openxmlformats.org/officeDocument/2006/relationships/tags" Target="../tags/tag144.xml"/><Relationship Id="rId51" Type="http://schemas.openxmlformats.org/officeDocument/2006/relationships/tags" Target="../tags/tag187.xml"/><Relationship Id="rId3" Type="http://schemas.openxmlformats.org/officeDocument/2006/relationships/tags" Target="../tags/tag139.xml"/><Relationship Id="rId12" Type="http://schemas.openxmlformats.org/officeDocument/2006/relationships/tags" Target="../tags/tag148.xml"/><Relationship Id="rId17" Type="http://schemas.openxmlformats.org/officeDocument/2006/relationships/tags" Target="../tags/tag153.xml"/><Relationship Id="rId25" Type="http://schemas.openxmlformats.org/officeDocument/2006/relationships/tags" Target="../tags/tag161.xml"/><Relationship Id="rId33" Type="http://schemas.openxmlformats.org/officeDocument/2006/relationships/tags" Target="../tags/tag169.xml"/><Relationship Id="rId38" Type="http://schemas.openxmlformats.org/officeDocument/2006/relationships/tags" Target="../tags/tag174.xml"/><Relationship Id="rId46" Type="http://schemas.openxmlformats.org/officeDocument/2006/relationships/tags" Target="../tags/tag182.xml"/><Relationship Id="rId59" Type="http://schemas.openxmlformats.org/officeDocument/2006/relationships/slideMaster" Target="../slideMasters/slideMaster2.xml"/><Relationship Id="rId20" Type="http://schemas.openxmlformats.org/officeDocument/2006/relationships/tags" Target="../tags/tag156.xml"/><Relationship Id="rId41" Type="http://schemas.openxmlformats.org/officeDocument/2006/relationships/tags" Target="../tags/tag177.xml"/><Relationship Id="rId54" Type="http://schemas.openxmlformats.org/officeDocument/2006/relationships/tags" Target="../tags/tag190.xml"/><Relationship Id="rId1" Type="http://schemas.openxmlformats.org/officeDocument/2006/relationships/tags" Target="../tags/tag137.xml"/><Relationship Id="rId6" Type="http://schemas.openxmlformats.org/officeDocument/2006/relationships/tags" Target="../tags/tag142.xml"/><Relationship Id="rId15" Type="http://schemas.openxmlformats.org/officeDocument/2006/relationships/tags" Target="../tags/tag151.xml"/><Relationship Id="rId23" Type="http://schemas.openxmlformats.org/officeDocument/2006/relationships/tags" Target="../tags/tag159.xml"/><Relationship Id="rId28" Type="http://schemas.openxmlformats.org/officeDocument/2006/relationships/tags" Target="../tags/tag164.xml"/><Relationship Id="rId36" Type="http://schemas.openxmlformats.org/officeDocument/2006/relationships/tags" Target="../tags/tag172.xml"/><Relationship Id="rId49" Type="http://schemas.openxmlformats.org/officeDocument/2006/relationships/tags" Target="../tags/tag185.xml"/><Relationship Id="rId57" Type="http://schemas.openxmlformats.org/officeDocument/2006/relationships/tags" Target="../tags/tag193.xml"/><Relationship Id="rId10" Type="http://schemas.openxmlformats.org/officeDocument/2006/relationships/tags" Target="../tags/tag146.xml"/><Relationship Id="rId31" Type="http://schemas.openxmlformats.org/officeDocument/2006/relationships/tags" Target="../tags/tag167.xml"/><Relationship Id="rId44" Type="http://schemas.openxmlformats.org/officeDocument/2006/relationships/tags" Target="../tags/tag180.xml"/><Relationship Id="rId52" Type="http://schemas.openxmlformats.org/officeDocument/2006/relationships/tags" Target="../tags/tag188.xml"/></Relationships>
</file>

<file path=ppt/slideLayouts/_rels/slideLayout39.xml.rels><?xml version="1.0" encoding="UTF-8" standalone="yes"?>
<Relationships xmlns="http://schemas.openxmlformats.org/package/2006/relationships"><Relationship Id="rId13" Type="http://schemas.openxmlformats.org/officeDocument/2006/relationships/tags" Target="../tags/tag207.xml"/><Relationship Id="rId18" Type="http://schemas.openxmlformats.org/officeDocument/2006/relationships/tags" Target="../tags/tag212.xml"/><Relationship Id="rId26" Type="http://schemas.openxmlformats.org/officeDocument/2006/relationships/tags" Target="../tags/tag220.xml"/><Relationship Id="rId39" Type="http://schemas.openxmlformats.org/officeDocument/2006/relationships/tags" Target="../tags/tag233.xml"/><Relationship Id="rId21" Type="http://schemas.openxmlformats.org/officeDocument/2006/relationships/tags" Target="../tags/tag215.xml"/><Relationship Id="rId34" Type="http://schemas.openxmlformats.org/officeDocument/2006/relationships/tags" Target="../tags/tag228.xml"/><Relationship Id="rId42" Type="http://schemas.openxmlformats.org/officeDocument/2006/relationships/tags" Target="../tags/tag236.xml"/><Relationship Id="rId47" Type="http://schemas.openxmlformats.org/officeDocument/2006/relationships/tags" Target="../tags/tag241.xml"/><Relationship Id="rId50" Type="http://schemas.openxmlformats.org/officeDocument/2006/relationships/tags" Target="../tags/tag244.xml"/><Relationship Id="rId55" Type="http://schemas.openxmlformats.org/officeDocument/2006/relationships/tags" Target="../tags/tag249.xml"/><Relationship Id="rId7" Type="http://schemas.openxmlformats.org/officeDocument/2006/relationships/tags" Target="../tags/tag201.xml"/><Relationship Id="rId2" Type="http://schemas.openxmlformats.org/officeDocument/2006/relationships/tags" Target="../tags/tag196.xml"/><Relationship Id="rId16" Type="http://schemas.openxmlformats.org/officeDocument/2006/relationships/tags" Target="../tags/tag210.xml"/><Relationship Id="rId29" Type="http://schemas.openxmlformats.org/officeDocument/2006/relationships/tags" Target="../tags/tag223.xml"/><Relationship Id="rId11" Type="http://schemas.openxmlformats.org/officeDocument/2006/relationships/tags" Target="../tags/tag205.xml"/><Relationship Id="rId24" Type="http://schemas.openxmlformats.org/officeDocument/2006/relationships/tags" Target="../tags/tag218.xml"/><Relationship Id="rId32" Type="http://schemas.openxmlformats.org/officeDocument/2006/relationships/tags" Target="../tags/tag226.xml"/><Relationship Id="rId37" Type="http://schemas.openxmlformats.org/officeDocument/2006/relationships/tags" Target="../tags/tag231.xml"/><Relationship Id="rId40" Type="http://schemas.openxmlformats.org/officeDocument/2006/relationships/tags" Target="../tags/tag234.xml"/><Relationship Id="rId45" Type="http://schemas.openxmlformats.org/officeDocument/2006/relationships/tags" Target="../tags/tag239.xml"/><Relationship Id="rId53" Type="http://schemas.openxmlformats.org/officeDocument/2006/relationships/tags" Target="../tags/tag247.xml"/><Relationship Id="rId5" Type="http://schemas.openxmlformats.org/officeDocument/2006/relationships/tags" Target="../tags/tag199.xml"/><Relationship Id="rId10" Type="http://schemas.openxmlformats.org/officeDocument/2006/relationships/tags" Target="../tags/tag204.xml"/><Relationship Id="rId19" Type="http://schemas.openxmlformats.org/officeDocument/2006/relationships/tags" Target="../tags/tag213.xml"/><Relationship Id="rId31" Type="http://schemas.openxmlformats.org/officeDocument/2006/relationships/tags" Target="../tags/tag225.xml"/><Relationship Id="rId44" Type="http://schemas.openxmlformats.org/officeDocument/2006/relationships/tags" Target="../tags/tag238.xml"/><Relationship Id="rId52" Type="http://schemas.openxmlformats.org/officeDocument/2006/relationships/tags" Target="../tags/tag246.xml"/><Relationship Id="rId4" Type="http://schemas.openxmlformats.org/officeDocument/2006/relationships/tags" Target="../tags/tag198.xml"/><Relationship Id="rId9" Type="http://schemas.openxmlformats.org/officeDocument/2006/relationships/tags" Target="../tags/tag203.xml"/><Relationship Id="rId14" Type="http://schemas.openxmlformats.org/officeDocument/2006/relationships/tags" Target="../tags/tag208.xml"/><Relationship Id="rId22" Type="http://schemas.openxmlformats.org/officeDocument/2006/relationships/tags" Target="../tags/tag216.xml"/><Relationship Id="rId27" Type="http://schemas.openxmlformats.org/officeDocument/2006/relationships/tags" Target="../tags/tag221.xml"/><Relationship Id="rId30" Type="http://schemas.openxmlformats.org/officeDocument/2006/relationships/tags" Target="../tags/tag224.xml"/><Relationship Id="rId35" Type="http://schemas.openxmlformats.org/officeDocument/2006/relationships/tags" Target="../tags/tag229.xml"/><Relationship Id="rId43" Type="http://schemas.openxmlformats.org/officeDocument/2006/relationships/tags" Target="../tags/tag237.xml"/><Relationship Id="rId48" Type="http://schemas.openxmlformats.org/officeDocument/2006/relationships/tags" Target="../tags/tag242.xml"/><Relationship Id="rId56" Type="http://schemas.openxmlformats.org/officeDocument/2006/relationships/slideMaster" Target="../slideMasters/slideMaster2.xml"/><Relationship Id="rId8" Type="http://schemas.openxmlformats.org/officeDocument/2006/relationships/tags" Target="../tags/tag202.xml"/><Relationship Id="rId51" Type="http://schemas.openxmlformats.org/officeDocument/2006/relationships/tags" Target="../tags/tag245.xml"/><Relationship Id="rId3" Type="http://schemas.openxmlformats.org/officeDocument/2006/relationships/tags" Target="../tags/tag197.xml"/><Relationship Id="rId12" Type="http://schemas.openxmlformats.org/officeDocument/2006/relationships/tags" Target="../tags/tag206.xml"/><Relationship Id="rId17" Type="http://schemas.openxmlformats.org/officeDocument/2006/relationships/tags" Target="../tags/tag211.xml"/><Relationship Id="rId25" Type="http://schemas.openxmlformats.org/officeDocument/2006/relationships/tags" Target="../tags/tag219.xml"/><Relationship Id="rId33" Type="http://schemas.openxmlformats.org/officeDocument/2006/relationships/tags" Target="../tags/tag227.xml"/><Relationship Id="rId38" Type="http://schemas.openxmlformats.org/officeDocument/2006/relationships/tags" Target="../tags/tag232.xml"/><Relationship Id="rId46" Type="http://schemas.openxmlformats.org/officeDocument/2006/relationships/tags" Target="../tags/tag240.xml"/><Relationship Id="rId20" Type="http://schemas.openxmlformats.org/officeDocument/2006/relationships/tags" Target="../tags/tag214.xml"/><Relationship Id="rId41" Type="http://schemas.openxmlformats.org/officeDocument/2006/relationships/tags" Target="../tags/tag235.xml"/><Relationship Id="rId54" Type="http://schemas.openxmlformats.org/officeDocument/2006/relationships/tags" Target="../tags/tag248.xml"/><Relationship Id="rId1" Type="http://schemas.openxmlformats.org/officeDocument/2006/relationships/tags" Target="../tags/tag195.xml"/><Relationship Id="rId6" Type="http://schemas.openxmlformats.org/officeDocument/2006/relationships/tags" Target="../tags/tag200.xml"/><Relationship Id="rId15" Type="http://schemas.openxmlformats.org/officeDocument/2006/relationships/tags" Target="../tags/tag209.xml"/><Relationship Id="rId23" Type="http://schemas.openxmlformats.org/officeDocument/2006/relationships/tags" Target="../tags/tag217.xml"/><Relationship Id="rId28" Type="http://schemas.openxmlformats.org/officeDocument/2006/relationships/tags" Target="../tags/tag222.xml"/><Relationship Id="rId36" Type="http://schemas.openxmlformats.org/officeDocument/2006/relationships/tags" Target="../tags/tag230.xml"/><Relationship Id="rId49" Type="http://schemas.openxmlformats.org/officeDocument/2006/relationships/tags" Target="../tags/tag243.xml"/></Relationships>
</file>

<file path=ppt/slideLayouts/_rels/slideLayout4.xml.rels><?xml version="1.0" encoding="UTF-8" standalone="yes"?>
<Relationships xmlns="http://schemas.openxmlformats.org/package/2006/relationships"><Relationship Id="rId13" Type="http://schemas.openxmlformats.org/officeDocument/2006/relationships/tags" Target="../tags/tag66.xml"/><Relationship Id="rId18" Type="http://schemas.openxmlformats.org/officeDocument/2006/relationships/tags" Target="../tags/tag71.xml"/><Relationship Id="rId26" Type="http://schemas.openxmlformats.org/officeDocument/2006/relationships/tags" Target="../tags/tag79.xml"/><Relationship Id="rId39" Type="http://schemas.openxmlformats.org/officeDocument/2006/relationships/tags" Target="../tags/tag92.xml"/><Relationship Id="rId21" Type="http://schemas.openxmlformats.org/officeDocument/2006/relationships/tags" Target="../tags/tag74.xml"/><Relationship Id="rId34" Type="http://schemas.openxmlformats.org/officeDocument/2006/relationships/tags" Target="../tags/tag87.xml"/><Relationship Id="rId42" Type="http://schemas.openxmlformats.org/officeDocument/2006/relationships/tags" Target="../tags/tag95.xml"/><Relationship Id="rId47" Type="http://schemas.openxmlformats.org/officeDocument/2006/relationships/tags" Target="../tags/tag100.xml"/><Relationship Id="rId50" Type="http://schemas.openxmlformats.org/officeDocument/2006/relationships/tags" Target="../tags/tag103.xml"/><Relationship Id="rId55" Type="http://schemas.openxmlformats.org/officeDocument/2006/relationships/tags" Target="../tags/tag108.xml"/><Relationship Id="rId7" Type="http://schemas.openxmlformats.org/officeDocument/2006/relationships/tags" Target="../tags/tag60.xml"/><Relationship Id="rId2" Type="http://schemas.openxmlformats.org/officeDocument/2006/relationships/tags" Target="../tags/tag55.xml"/><Relationship Id="rId16" Type="http://schemas.openxmlformats.org/officeDocument/2006/relationships/tags" Target="../tags/tag69.xml"/><Relationship Id="rId29" Type="http://schemas.openxmlformats.org/officeDocument/2006/relationships/tags" Target="../tags/tag82.xml"/><Relationship Id="rId11" Type="http://schemas.openxmlformats.org/officeDocument/2006/relationships/tags" Target="../tags/tag64.xml"/><Relationship Id="rId24" Type="http://schemas.openxmlformats.org/officeDocument/2006/relationships/tags" Target="../tags/tag77.xml"/><Relationship Id="rId32" Type="http://schemas.openxmlformats.org/officeDocument/2006/relationships/tags" Target="../tags/tag85.xml"/><Relationship Id="rId37" Type="http://schemas.openxmlformats.org/officeDocument/2006/relationships/tags" Target="../tags/tag90.xml"/><Relationship Id="rId40" Type="http://schemas.openxmlformats.org/officeDocument/2006/relationships/tags" Target="../tags/tag93.xml"/><Relationship Id="rId45" Type="http://schemas.openxmlformats.org/officeDocument/2006/relationships/tags" Target="../tags/tag98.xml"/><Relationship Id="rId53" Type="http://schemas.openxmlformats.org/officeDocument/2006/relationships/tags" Target="../tags/tag106.xml"/><Relationship Id="rId5" Type="http://schemas.openxmlformats.org/officeDocument/2006/relationships/tags" Target="../tags/tag58.xml"/><Relationship Id="rId19" Type="http://schemas.openxmlformats.org/officeDocument/2006/relationships/tags" Target="../tags/tag72.xml"/><Relationship Id="rId4" Type="http://schemas.openxmlformats.org/officeDocument/2006/relationships/tags" Target="../tags/tag57.xml"/><Relationship Id="rId9" Type="http://schemas.openxmlformats.org/officeDocument/2006/relationships/tags" Target="../tags/tag62.xml"/><Relationship Id="rId14" Type="http://schemas.openxmlformats.org/officeDocument/2006/relationships/tags" Target="../tags/tag67.xml"/><Relationship Id="rId22" Type="http://schemas.openxmlformats.org/officeDocument/2006/relationships/tags" Target="../tags/tag75.xml"/><Relationship Id="rId27" Type="http://schemas.openxmlformats.org/officeDocument/2006/relationships/tags" Target="../tags/tag80.xml"/><Relationship Id="rId30" Type="http://schemas.openxmlformats.org/officeDocument/2006/relationships/tags" Target="../tags/tag83.xml"/><Relationship Id="rId35" Type="http://schemas.openxmlformats.org/officeDocument/2006/relationships/tags" Target="../tags/tag88.xml"/><Relationship Id="rId43" Type="http://schemas.openxmlformats.org/officeDocument/2006/relationships/tags" Target="../tags/tag96.xml"/><Relationship Id="rId48" Type="http://schemas.openxmlformats.org/officeDocument/2006/relationships/tags" Target="../tags/tag101.xml"/><Relationship Id="rId56" Type="http://schemas.openxmlformats.org/officeDocument/2006/relationships/tags" Target="../tags/tag109.xml"/><Relationship Id="rId8" Type="http://schemas.openxmlformats.org/officeDocument/2006/relationships/tags" Target="../tags/tag61.xml"/><Relationship Id="rId51" Type="http://schemas.openxmlformats.org/officeDocument/2006/relationships/tags" Target="../tags/tag104.xml"/><Relationship Id="rId3" Type="http://schemas.openxmlformats.org/officeDocument/2006/relationships/tags" Target="../tags/tag56.xml"/><Relationship Id="rId12" Type="http://schemas.openxmlformats.org/officeDocument/2006/relationships/tags" Target="../tags/tag65.xml"/><Relationship Id="rId17" Type="http://schemas.openxmlformats.org/officeDocument/2006/relationships/tags" Target="../tags/tag70.xml"/><Relationship Id="rId25" Type="http://schemas.openxmlformats.org/officeDocument/2006/relationships/tags" Target="../tags/tag78.xml"/><Relationship Id="rId33" Type="http://schemas.openxmlformats.org/officeDocument/2006/relationships/tags" Target="../tags/tag86.xml"/><Relationship Id="rId38" Type="http://schemas.openxmlformats.org/officeDocument/2006/relationships/tags" Target="../tags/tag91.xml"/><Relationship Id="rId46" Type="http://schemas.openxmlformats.org/officeDocument/2006/relationships/tags" Target="../tags/tag99.xml"/><Relationship Id="rId20" Type="http://schemas.openxmlformats.org/officeDocument/2006/relationships/tags" Target="../tags/tag73.xml"/><Relationship Id="rId41" Type="http://schemas.openxmlformats.org/officeDocument/2006/relationships/tags" Target="../tags/tag94.xml"/><Relationship Id="rId54" Type="http://schemas.openxmlformats.org/officeDocument/2006/relationships/tags" Target="../tags/tag107.xml"/><Relationship Id="rId1" Type="http://schemas.openxmlformats.org/officeDocument/2006/relationships/tags" Target="../tags/tag54.xml"/><Relationship Id="rId6" Type="http://schemas.openxmlformats.org/officeDocument/2006/relationships/tags" Target="../tags/tag59.xml"/><Relationship Id="rId15" Type="http://schemas.openxmlformats.org/officeDocument/2006/relationships/tags" Target="../tags/tag68.xml"/><Relationship Id="rId23" Type="http://schemas.openxmlformats.org/officeDocument/2006/relationships/tags" Target="../tags/tag76.xml"/><Relationship Id="rId28" Type="http://schemas.openxmlformats.org/officeDocument/2006/relationships/tags" Target="../tags/tag81.xml"/><Relationship Id="rId36" Type="http://schemas.openxmlformats.org/officeDocument/2006/relationships/tags" Target="../tags/tag89.xml"/><Relationship Id="rId49" Type="http://schemas.openxmlformats.org/officeDocument/2006/relationships/tags" Target="../tags/tag102.xml"/><Relationship Id="rId57" Type="http://schemas.openxmlformats.org/officeDocument/2006/relationships/slideMaster" Target="../slideMasters/slideMaster1.xml"/><Relationship Id="rId10" Type="http://schemas.openxmlformats.org/officeDocument/2006/relationships/tags" Target="../tags/tag63.xml"/><Relationship Id="rId31" Type="http://schemas.openxmlformats.org/officeDocument/2006/relationships/tags" Target="../tags/tag84.xml"/><Relationship Id="rId44" Type="http://schemas.openxmlformats.org/officeDocument/2006/relationships/tags" Target="../tags/tag97.xml"/><Relationship Id="rId52" Type="http://schemas.openxmlformats.org/officeDocument/2006/relationships/tags" Target="../tags/tag105.xml"/></Relationships>
</file>

<file path=ppt/slideLayouts/_rels/slideLayout40.xml.rels><?xml version="1.0" encoding="UTF-8" standalone="yes"?>
<Relationships xmlns="http://schemas.openxmlformats.org/package/2006/relationships"><Relationship Id="rId13" Type="http://schemas.openxmlformats.org/officeDocument/2006/relationships/tags" Target="../tags/tag262.xml"/><Relationship Id="rId18" Type="http://schemas.openxmlformats.org/officeDocument/2006/relationships/tags" Target="../tags/tag267.xml"/><Relationship Id="rId26" Type="http://schemas.openxmlformats.org/officeDocument/2006/relationships/tags" Target="../tags/tag275.xml"/><Relationship Id="rId39" Type="http://schemas.openxmlformats.org/officeDocument/2006/relationships/tags" Target="../tags/tag288.xml"/><Relationship Id="rId21" Type="http://schemas.openxmlformats.org/officeDocument/2006/relationships/tags" Target="../tags/tag270.xml"/><Relationship Id="rId34" Type="http://schemas.openxmlformats.org/officeDocument/2006/relationships/tags" Target="../tags/tag283.xml"/><Relationship Id="rId42" Type="http://schemas.openxmlformats.org/officeDocument/2006/relationships/tags" Target="../tags/tag291.xml"/><Relationship Id="rId47" Type="http://schemas.openxmlformats.org/officeDocument/2006/relationships/tags" Target="../tags/tag296.xml"/><Relationship Id="rId50" Type="http://schemas.openxmlformats.org/officeDocument/2006/relationships/tags" Target="../tags/tag299.xml"/><Relationship Id="rId7" Type="http://schemas.openxmlformats.org/officeDocument/2006/relationships/tags" Target="../tags/tag256.xml"/><Relationship Id="rId2" Type="http://schemas.openxmlformats.org/officeDocument/2006/relationships/tags" Target="../tags/tag251.xml"/><Relationship Id="rId16" Type="http://schemas.openxmlformats.org/officeDocument/2006/relationships/tags" Target="../tags/tag265.xml"/><Relationship Id="rId29" Type="http://schemas.openxmlformats.org/officeDocument/2006/relationships/tags" Target="../tags/tag278.xml"/><Relationship Id="rId11" Type="http://schemas.openxmlformats.org/officeDocument/2006/relationships/tags" Target="../tags/tag260.xml"/><Relationship Id="rId24" Type="http://schemas.openxmlformats.org/officeDocument/2006/relationships/tags" Target="../tags/tag273.xml"/><Relationship Id="rId32" Type="http://schemas.openxmlformats.org/officeDocument/2006/relationships/tags" Target="../tags/tag281.xml"/><Relationship Id="rId37" Type="http://schemas.openxmlformats.org/officeDocument/2006/relationships/tags" Target="../tags/tag286.xml"/><Relationship Id="rId40" Type="http://schemas.openxmlformats.org/officeDocument/2006/relationships/tags" Target="../tags/tag289.xml"/><Relationship Id="rId45" Type="http://schemas.openxmlformats.org/officeDocument/2006/relationships/tags" Target="../tags/tag294.xml"/><Relationship Id="rId53" Type="http://schemas.openxmlformats.org/officeDocument/2006/relationships/slideMaster" Target="../slideMasters/slideMaster2.xml"/><Relationship Id="rId5" Type="http://schemas.openxmlformats.org/officeDocument/2006/relationships/tags" Target="../tags/tag254.xml"/><Relationship Id="rId10" Type="http://schemas.openxmlformats.org/officeDocument/2006/relationships/tags" Target="../tags/tag259.xml"/><Relationship Id="rId19" Type="http://schemas.openxmlformats.org/officeDocument/2006/relationships/tags" Target="../tags/tag268.xml"/><Relationship Id="rId31" Type="http://schemas.openxmlformats.org/officeDocument/2006/relationships/tags" Target="../tags/tag280.xml"/><Relationship Id="rId44" Type="http://schemas.openxmlformats.org/officeDocument/2006/relationships/tags" Target="../tags/tag293.xml"/><Relationship Id="rId52" Type="http://schemas.openxmlformats.org/officeDocument/2006/relationships/tags" Target="../tags/tag301.xml"/><Relationship Id="rId4" Type="http://schemas.openxmlformats.org/officeDocument/2006/relationships/tags" Target="../tags/tag253.xml"/><Relationship Id="rId9" Type="http://schemas.openxmlformats.org/officeDocument/2006/relationships/tags" Target="../tags/tag258.xml"/><Relationship Id="rId14" Type="http://schemas.openxmlformats.org/officeDocument/2006/relationships/tags" Target="../tags/tag263.xml"/><Relationship Id="rId22" Type="http://schemas.openxmlformats.org/officeDocument/2006/relationships/tags" Target="../tags/tag271.xml"/><Relationship Id="rId27" Type="http://schemas.openxmlformats.org/officeDocument/2006/relationships/tags" Target="../tags/tag276.xml"/><Relationship Id="rId30" Type="http://schemas.openxmlformats.org/officeDocument/2006/relationships/tags" Target="../tags/tag279.xml"/><Relationship Id="rId35" Type="http://schemas.openxmlformats.org/officeDocument/2006/relationships/tags" Target="../tags/tag284.xml"/><Relationship Id="rId43" Type="http://schemas.openxmlformats.org/officeDocument/2006/relationships/tags" Target="../tags/tag292.xml"/><Relationship Id="rId48" Type="http://schemas.openxmlformats.org/officeDocument/2006/relationships/tags" Target="../tags/tag297.xml"/><Relationship Id="rId8" Type="http://schemas.openxmlformats.org/officeDocument/2006/relationships/tags" Target="../tags/tag257.xml"/><Relationship Id="rId51" Type="http://schemas.openxmlformats.org/officeDocument/2006/relationships/tags" Target="../tags/tag300.xml"/><Relationship Id="rId3" Type="http://schemas.openxmlformats.org/officeDocument/2006/relationships/tags" Target="../tags/tag252.xml"/><Relationship Id="rId12" Type="http://schemas.openxmlformats.org/officeDocument/2006/relationships/tags" Target="../tags/tag261.xml"/><Relationship Id="rId17" Type="http://schemas.openxmlformats.org/officeDocument/2006/relationships/tags" Target="../tags/tag266.xml"/><Relationship Id="rId25" Type="http://schemas.openxmlformats.org/officeDocument/2006/relationships/tags" Target="../tags/tag274.xml"/><Relationship Id="rId33" Type="http://schemas.openxmlformats.org/officeDocument/2006/relationships/tags" Target="../tags/tag282.xml"/><Relationship Id="rId38" Type="http://schemas.openxmlformats.org/officeDocument/2006/relationships/tags" Target="../tags/tag287.xml"/><Relationship Id="rId46" Type="http://schemas.openxmlformats.org/officeDocument/2006/relationships/tags" Target="../tags/tag295.xml"/><Relationship Id="rId20" Type="http://schemas.openxmlformats.org/officeDocument/2006/relationships/tags" Target="../tags/tag269.xml"/><Relationship Id="rId41" Type="http://schemas.openxmlformats.org/officeDocument/2006/relationships/tags" Target="../tags/tag290.xml"/><Relationship Id="rId1" Type="http://schemas.openxmlformats.org/officeDocument/2006/relationships/tags" Target="../tags/tag250.xml"/><Relationship Id="rId6" Type="http://schemas.openxmlformats.org/officeDocument/2006/relationships/tags" Target="../tags/tag255.xml"/><Relationship Id="rId15" Type="http://schemas.openxmlformats.org/officeDocument/2006/relationships/tags" Target="../tags/tag264.xml"/><Relationship Id="rId23" Type="http://schemas.openxmlformats.org/officeDocument/2006/relationships/tags" Target="../tags/tag272.xml"/><Relationship Id="rId28" Type="http://schemas.openxmlformats.org/officeDocument/2006/relationships/tags" Target="../tags/tag277.xml"/><Relationship Id="rId36" Type="http://schemas.openxmlformats.org/officeDocument/2006/relationships/tags" Target="../tags/tag285.xml"/><Relationship Id="rId49" Type="http://schemas.openxmlformats.org/officeDocument/2006/relationships/tags" Target="../tags/tag298.xml"/></Relationships>
</file>

<file path=ppt/slideLayouts/_rels/slideLayout41.xml.rels><?xml version="1.0" encoding="UTF-8" standalone="yes"?>
<Relationships xmlns="http://schemas.openxmlformats.org/package/2006/relationships"><Relationship Id="rId26" Type="http://schemas.openxmlformats.org/officeDocument/2006/relationships/tags" Target="../tags/tag327.xml"/><Relationship Id="rId21" Type="http://schemas.openxmlformats.org/officeDocument/2006/relationships/tags" Target="../tags/tag322.xml"/><Relationship Id="rId42" Type="http://schemas.openxmlformats.org/officeDocument/2006/relationships/tags" Target="../tags/tag343.xml"/><Relationship Id="rId47" Type="http://schemas.openxmlformats.org/officeDocument/2006/relationships/tags" Target="../tags/tag348.xml"/><Relationship Id="rId63" Type="http://schemas.openxmlformats.org/officeDocument/2006/relationships/tags" Target="../tags/tag364.xml"/><Relationship Id="rId68" Type="http://schemas.openxmlformats.org/officeDocument/2006/relationships/tags" Target="../tags/tag369.xml"/><Relationship Id="rId84" Type="http://schemas.openxmlformats.org/officeDocument/2006/relationships/tags" Target="../tags/tag385.xml"/><Relationship Id="rId89" Type="http://schemas.openxmlformats.org/officeDocument/2006/relationships/tags" Target="../tags/tag390.xml"/><Relationship Id="rId16" Type="http://schemas.openxmlformats.org/officeDocument/2006/relationships/tags" Target="../tags/tag317.xml"/><Relationship Id="rId11" Type="http://schemas.openxmlformats.org/officeDocument/2006/relationships/tags" Target="../tags/tag312.xml"/><Relationship Id="rId32" Type="http://schemas.openxmlformats.org/officeDocument/2006/relationships/tags" Target="../tags/tag333.xml"/><Relationship Id="rId37" Type="http://schemas.openxmlformats.org/officeDocument/2006/relationships/tags" Target="../tags/tag338.xml"/><Relationship Id="rId53" Type="http://schemas.openxmlformats.org/officeDocument/2006/relationships/tags" Target="../tags/tag354.xml"/><Relationship Id="rId58" Type="http://schemas.openxmlformats.org/officeDocument/2006/relationships/tags" Target="../tags/tag359.xml"/><Relationship Id="rId74" Type="http://schemas.openxmlformats.org/officeDocument/2006/relationships/tags" Target="../tags/tag375.xml"/><Relationship Id="rId79" Type="http://schemas.openxmlformats.org/officeDocument/2006/relationships/tags" Target="../tags/tag380.xml"/><Relationship Id="rId5" Type="http://schemas.openxmlformats.org/officeDocument/2006/relationships/tags" Target="../tags/tag306.xml"/><Relationship Id="rId90" Type="http://schemas.openxmlformats.org/officeDocument/2006/relationships/tags" Target="../tags/tag391.xml"/><Relationship Id="rId95" Type="http://schemas.openxmlformats.org/officeDocument/2006/relationships/tags" Target="../tags/tag396.xml"/><Relationship Id="rId22" Type="http://schemas.openxmlformats.org/officeDocument/2006/relationships/tags" Target="../tags/tag323.xml"/><Relationship Id="rId27" Type="http://schemas.openxmlformats.org/officeDocument/2006/relationships/tags" Target="../tags/tag328.xml"/><Relationship Id="rId43" Type="http://schemas.openxmlformats.org/officeDocument/2006/relationships/tags" Target="../tags/tag344.xml"/><Relationship Id="rId48" Type="http://schemas.openxmlformats.org/officeDocument/2006/relationships/tags" Target="../tags/tag349.xml"/><Relationship Id="rId64" Type="http://schemas.openxmlformats.org/officeDocument/2006/relationships/tags" Target="../tags/tag365.xml"/><Relationship Id="rId69" Type="http://schemas.openxmlformats.org/officeDocument/2006/relationships/tags" Target="../tags/tag370.xml"/><Relationship Id="rId8" Type="http://schemas.openxmlformats.org/officeDocument/2006/relationships/tags" Target="../tags/tag309.xml"/><Relationship Id="rId51" Type="http://schemas.openxmlformats.org/officeDocument/2006/relationships/tags" Target="../tags/tag352.xml"/><Relationship Id="rId72" Type="http://schemas.openxmlformats.org/officeDocument/2006/relationships/tags" Target="../tags/tag373.xml"/><Relationship Id="rId80" Type="http://schemas.openxmlformats.org/officeDocument/2006/relationships/tags" Target="../tags/tag381.xml"/><Relationship Id="rId85" Type="http://schemas.openxmlformats.org/officeDocument/2006/relationships/tags" Target="../tags/tag386.xml"/><Relationship Id="rId93" Type="http://schemas.openxmlformats.org/officeDocument/2006/relationships/tags" Target="../tags/tag394.xml"/><Relationship Id="rId3" Type="http://schemas.openxmlformats.org/officeDocument/2006/relationships/tags" Target="../tags/tag304.xml"/><Relationship Id="rId12" Type="http://schemas.openxmlformats.org/officeDocument/2006/relationships/tags" Target="../tags/tag313.xml"/><Relationship Id="rId17" Type="http://schemas.openxmlformats.org/officeDocument/2006/relationships/tags" Target="../tags/tag318.xml"/><Relationship Id="rId25" Type="http://schemas.openxmlformats.org/officeDocument/2006/relationships/tags" Target="../tags/tag326.xml"/><Relationship Id="rId33" Type="http://schemas.openxmlformats.org/officeDocument/2006/relationships/tags" Target="../tags/tag334.xml"/><Relationship Id="rId38" Type="http://schemas.openxmlformats.org/officeDocument/2006/relationships/tags" Target="../tags/tag339.xml"/><Relationship Id="rId46" Type="http://schemas.openxmlformats.org/officeDocument/2006/relationships/tags" Target="../tags/tag347.xml"/><Relationship Id="rId59" Type="http://schemas.openxmlformats.org/officeDocument/2006/relationships/tags" Target="../tags/tag360.xml"/><Relationship Id="rId67" Type="http://schemas.openxmlformats.org/officeDocument/2006/relationships/tags" Target="../tags/tag368.xml"/><Relationship Id="rId20" Type="http://schemas.openxmlformats.org/officeDocument/2006/relationships/tags" Target="../tags/tag321.xml"/><Relationship Id="rId41" Type="http://schemas.openxmlformats.org/officeDocument/2006/relationships/tags" Target="../tags/tag342.xml"/><Relationship Id="rId54" Type="http://schemas.openxmlformats.org/officeDocument/2006/relationships/tags" Target="../tags/tag355.xml"/><Relationship Id="rId62" Type="http://schemas.openxmlformats.org/officeDocument/2006/relationships/tags" Target="../tags/tag363.xml"/><Relationship Id="rId70" Type="http://schemas.openxmlformats.org/officeDocument/2006/relationships/tags" Target="../tags/tag371.xml"/><Relationship Id="rId75" Type="http://schemas.openxmlformats.org/officeDocument/2006/relationships/tags" Target="../tags/tag376.xml"/><Relationship Id="rId83" Type="http://schemas.openxmlformats.org/officeDocument/2006/relationships/tags" Target="../tags/tag384.xml"/><Relationship Id="rId88" Type="http://schemas.openxmlformats.org/officeDocument/2006/relationships/tags" Target="../tags/tag389.xml"/><Relationship Id="rId91" Type="http://schemas.openxmlformats.org/officeDocument/2006/relationships/tags" Target="../tags/tag392.xml"/><Relationship Id="rId96" Type="http://schemas.openxmlformats.org/officeDocument/2006/relationships/slideMaster" Target="../slideMasters/slideMaster2.xml"/><Relationship Id="rId1" Type="http://schemas.openxmlformats.org/officeDocument/2006/relationships/tags" Target="../tags/tag302.xml"/><Relationship Id="rId6" Type="http://schemas.openxmlformats.org/officeDocument/2006/relationships/tags" Target="../tags/tag307.xml"/><Relationship Id="rId15" Type="http://schemas.openxmlformats.org/officeDocument/2006/relationships/tags" Target="../tags/tag316.xml"/><Relationship Id="rId23" Type="http://schemas.openxmlformats.org/officeDocument/2006/relationships/tags" Target="../tags/tag324.xml"/><Relationship Id="rId28" Type="http://schemas.openxmlformats.org/officeDocument/2006/relationships/tags" Target="../tags/tag329.xml"/><Relationship Id="rId36" Type="http://schemas.openxmlformats.org/officeDocument/2006/relationships/tags" Target="../tags/tag337.xml"/><Relationship Id="rId49" Type="http://schemas.openxmlformats.org/officeDocument/2006/relationships/tags" Target="../tags/tag350.xml"/><Relationship Id="rId57" Type="http://schemas.openxmlformats.org/officeDocument/2006/relationships/tags" Target="../tags/tag358.xml"/><Relationship Id="rId10" Type="http://schemas.openxmlformats.org/officeDocument/2006/relationships/tags" Target="../tags/tag311.xml"/><Relationship Id="rId31" Type="http://schemas.openxmlformats.org/officeDocument/2006/relationships/tags" Target="../tags/tag332.xml"/><Relationship Id="rId44" Type="http://schemas.openxmlformats.org/officeDocument/2006/relationships/tags" Target="../tags/tag345.xml"/><Relationship Id="rId52" Type="http://schemas.openxmlformats.org/officeDocument/2006/relationships/tags" Target="../tags/tag353.xml"/><Relationship Id="rId60" Type="http://schemas.openxmlformats.org/officeDocument/2006/relationships/tags" Target="../tags/tag361.xml"/><Relationship Id="rId65" Type="http://schemas.openxmlformats.org/officeDocument/2006/relationships/tags" Target="../tags/tag366.xml"/><Relationship Id="rId73" Type="http://schemas.openxmlformats.org/officeDocument/2006/relationships/tags" Target="../tags/tag374.xml"/><Relationship Id="rId78" Type="http://schemas.openxmlformats.org/officeDocument/2006/relationships/tags" Target="../tags/tag379.xml"/><Relationship Id="rId81" Type="http://schemas.openxmlformats.org/officeDocument/2006/relationships/tags" Target="../tags/tag382.xml"/><Relationship Id="rId86" Type="http://schemas.openxmlformats.org/officeDocument/2006/relationships/tags" Target="../tags/tag387.xml"/><Relationship Id="rId94" Type="http://schemas.openxmlformats.org/officeDocument/2006/relationships/tags" Target="../tags/tag395.xml"/><Relationship Id="rId4" Type="http://schemas.openxmlformats.org/officeDocument/2006/relationships/tags" Target="../tags/tag305.xml"/><Relationship Id="rId9" Type="http://schemas.openxmlformats.org/officeDocument/2006/relationships/tags" Target="../tags/tag310.xml"/><Relationship Id="rId13" Type="http://schemas.openxmlformats.org/officeDocument/2006/relationships/tags" Target="../tags/tag314.xml"/><Relationship Id="rId18" Type="http://schemas.openxmlformats.org/officeDocument/2006/relationships/tags" Target="../tags/tag319.xml"/><Relationship Id="rId39" Type="http://schemas.openxmlformats.org/officeDocument/2006/relationships/tags" Target="../tags/tag340.xml"/><Relationship Id="rId34" Type="http://schemas.openxmlformats.org/officeDocument/2006/relationships/tags" Target="../tags/tag335.xml"/><Relationship Id="rId50" Type="http://schemas.openxmlformats.org/officeDocument/2006/relationships/tags" Target="../tags/tag351.xml"/><Relationship Id="rId55" Type="http://schemas.openxmlformats.org/officeDocument/2006/relationships/tags" Target="../tags/tag356.xml"/><Relationship Id="rId76" Type="http://schemas.openxmlformats.org/officeDocument/2006/relationships/tags" Target="../tags/tag377.xml"/><Relationship Id="rId7" Type="http://schemas.openxmlformats.org/officeDocument/2006/relationships/tags" Target="../tags/tag308.xml"/><Relationship Id="rId71" Type="http://schemas.openxmlformats.org/officeDocument/2006/relationships/tags" Target="../tags/tag372.xml"/><Relationship Id="rId92" Type="http://schemas.openxmlformats.org/officeDocument/2006/relationships/tags" Target="../tags/tag393.xml"/><Relationship Id="rId2" Type="http://schemas.openxmlformats.org/officeDocument/2006/relationships/tags" Target="../tags/tag303.xml"/><Relationship Id="rId29" Type="http://schemas.openxmlformats.org/officeDocument/2006/relationships/tags" Target="../tags/tag330.xml"/><Relationship Id="rId24" Type="http://schemas.openxmlformats.org/officeDocument/2006/relationships/tags" Target="../tags/tag325.xml"/><Relationship Id="rId40" Type="http://schemas.openxmlformats.org/officeDocument/2006/relationships/tags" Target="../tags/tag341.xml"/><Relationship Id="rId45" Type="http://schemas.openxmlformats.org/officeDocument/2006/relationships/tags" Target="../tags/tag346.xml"/><Relationship Id="rId66" Type="http://schemas.openxmlformats.org/officeDocument/2006/relationships/tags" Target="../tags/tag367.xml"/><Relationship Id="rId87" Type="http://schemas.openxmlformats.org/officeDocument/2006/relationships/tags" Target="../tags/tag388.xml"/><Relationship Id="rId61" Type="http://schemas.openxmlformats.org/officeDocument/2006/relationships/tags" Target="../tags/tag362.xml"/><Relationship Id="rId82" Type="http://schemas.openxmlformats.org/officeDocument/2006/relationships/tags" Target="../tags/tag383.xml"/><Relationship Id="rId19" Type="http://schemas.openxmlformats.org/officeDocument/2006/relationships/tags" Target="../tags/tag320.xml"/><Relationship Id="rId14" Type="http://schemas.openxmlformats.org/officeDocument/2006/relationships/tags" Target="../tags/tag315.xml"/><Relationship Id="rId30" Type="http://schemas.openxmlformats.org/officeDocument/2006/relationships/tags" Target="../tags/tag331.xml"/><Relationship Id="rId35" Type="http://schemas.openxmlformats.org/officeDocument/2006/relationships/tags" Target="../tags/tag336.xml"/><Relationship Id="rId56" Type="http://schemas.openxmlformats.org/officeDocument/2006/relationships/tags" Target="../tags/tag357.xml"/><Relationship Id="rId77" Type="http://schemas.openxmlformats.org/officeDocument/2006/relationships/tags" Target="../tags/tag378.xml"/></Relationships>
</file>

<file path=ppt/slideLayouts/_rels/slideLayout42.xml.rels><?xml version="1.0" encoding="UTF-8" standalone="yes"?>
<Relationships xmlns="http://schemas.openxmlformats.org/package/2006/relationships"><Relationship Id="rId13" Type="http://schemas.openxmlformats.org/officeDocument/2006/relationships/tags" Target="../tags/tag409.xml"/><Relationship Id="rId18" Type="http://schemas.openxmlformats.org/officeDocument/2006/relationships/tags" Target="../tags/tag414.xml"/><Relationship Id="rId26" Type="http://schemas.openxmlformats.org/officeDocument/2006/relationships/tags" Target="../tags/tag422.xml"/><Relationship Id="rId39" Type="http://schemas.openxmlformats.org/officeDocument/2006/relationships/tags" Target="../tags/tag435.xml"/><Relationship Id="rId21" Type="http://schemas.openxmlformats.org/officeDocument/2006/relationships/tags" Target="../tags/tag417.xml"/><Relationship Id="rId34" Type="http://schemas.openxmlformats.org/officeDocument/2006/relationships/tags" Target="../tags/tag430.xml"/><Relationship Id="rId42" Type="http://schemas.openxmlformats.org/officeDocument/2006/relationships/tags" Target="../tags/tag438.xml"/><Relationship Id="rId47" Type="http://schemas.openxmlformats.org/officeDocument/2006/relationships/tags" Target="../tags/tag443.xml"/><Relationship Id="rId50" Type="http://schemas.openxmlformats.org/officeDocument/2006/relationships/tags" Target="../tags/tag446.xml"/><Relationship Id="rId7" Type="http://schemas.openxmlformats.org/officeDocument/2006/relationships/tags" Target="../tags/tag403.xml"/><Relationship Id="rId2" Type="http://schemas.openxmlformats.org/officeDocument/2006/relationships/tags" Target="../tags/tag398.xml"/><Relationship Id="rId16" Type="http://schemas.openxmlformats.org/officeDocument/2006/relationships/tags" Target="../tags/tag412.xml"/><Relationship Id="rId29" Type="http://schemas.openxmlformats.org/officeDocument/2006/relationships/tags" Target="../tags/tag425.xml"/><Relationship Id="rId11" Type="http://schemas.openxmlformats.org/officeDocument/2006/relationships/tags" Target="../tags/tag407.xml"/><Relationship Id="rId24" Type="http://schemas.openxmlformats.org/officeDocument/2006/relationships/tags" Target="../tags/tag420.xml"/><Relationship Id="rId32" Type="http://schemas.openxmlformats.org/officeDocument/2006/relationships/tags" Target="../tags/tag428.xml"/><Relationship Id="rId37" Type="http://schemas.openxmlformats.org/officeDocument/2006/relationships/tags" Target="../tags/tag433.xml"/><Relationship Id="rId40" Type="http://schemas.openxmlformats.org/officeDocument/2006/relationships/tags" Target="../tags/tag436.xml"/><Relationship Id="rId45" Type="http://schemas.openxmlformats.org/officeDocument/2006/relationships/tags" Target="../tags/tag441.xml"/><Relationship Id="rId53" Type="http://schemas.openxmlformats.org/officeDocument/2006/relationships/tags" Target="../tags/tag449.xml"/><Relationship Id="rId5" Type="http://schemas.openxmlformats.org/officeDocument/2006/relationships/tags" Target="../tags/tag401.xml"/><Relationship Id="rId10" Type="http://schemas.openxmlformats.org/officeDocument/2006/relationships/tags" Target="../tags/tag406.xml"/><Relationship Id="rId19" Type="http://schemas.openxmlformats.org/officeDocument/2006/relationships/tags" Target="../tags/tag415.xml"/><Relationship Id="rId31" Type="http://schemas.openxmlformats.org/officeDocument/2006/relationships/tags" Target="../tags/tag427.xml"/><Relationship Id="rId44" Type="http://schemas.openxmlformats.org/officeDocument/2006/relationships/tags" Target="../tags/tag440.xml"/><Relationship Id="rId52" Type="http://schemas.openxmlformats.org/officeDocument/2006/relationships/tags" Target="../tags/tag448.xml"/><Relationship Id="rId4" Type="http://schemas.openxmlformats.org/officeDocument/2006/relationships/tags" Target="../tags/tag400.xml"/><Relationship Id="rId9" Type="http://schemas.openxmlformats.org/officeDocument/2006/relationships/tags" Target="../tags/tag405.xml"/><Relationship Id="rId14" Type="http://schemas.openxmlformats.org/officeDocument/2006/relationships/tags" Target="../tags/tag410.xml"/><Relationship Id="rId22" Type="http://schemas.openxmlformats.org/officeDocument/2006/relationships/tags" Target="../tags/tag418.xml"/><Relationship Id="rId27" Type="http://schemas.openxmlformats.org/officeDocument/2006/relationships/tags" Target="../tags/tag423.xml"/><Relationship Id="rId30" Type="http://schemas.openxmlformats.org/officeDocument/2006/relationships/tags" Target="../tags/tag426.xml"/><Relationship Id="rId35" Type="http://schemas.openxmlformats.org/officeDocument/2006/relationships/tags" Target="../tags/tag431.xml"/><Relationship Id="rId43" Type="http://schemas.openxmlformats.org/officeDocument/2006/relationships/tags" Target="../tags/tag439.xml"/><Relationship Id="rId48" Type="http://schemas.openxmlformats.org/officeDocument/2006/relationships/tags" Target="../tags/tag444.xml"/><Relationship Id="rId8" Type="http://schemas.openxmlformats.org/officeDocument/2006/relationships/tags" Target="../tags/tag404.xml"/><Relationship Id="rId51" Type="http://schemas.openxmlformats.org/officeDocument/2006/relationships/tags" Target="../tags/tag447.xml"/><Relationship Id="rId3" Type="http://schemas.openxmlformats.org/officeDocument/2006/relationships/tags" Target="../tags/tag399.xml"/><Relationship Id="rId12" Type="http://schemas.openxmlformats.org/officeDocument/2006/relationships/tags" Target="../tags/tag408.xml"/><Relationship Id="rId17" Type="http://schemas.openxmlformats.org/officeDocument/2006/relationships/tags" Target="../tags/tag413.xml"/><Relationship Id="rId25" Type="http://schemas.openxmlformats.org/officeDocument/2006/relationships/tags" Target="../tags/tag421.xml"/><Relationship Id="rId33" Type="http://schemas.openxmlformats.org/officeDocument/2006/relationships/tags" Target="../tags/tag429.xml"/><Relationship Id="rId38" Type="http://schemas.openxmlformats.org/officeDocument/2006/relationships/tags" Target="../tags/tag434.xml"/><Relationship Id="rId46" Type="http://schemas.openxmlformats.org/officeDocument/2006/relationships/tags" Target="../tags/tag442.xml"/><Relationship Id="rId20" Type="http://schemas.openxmlformats.org/officeDocument/2006/relationships/tags" Target="../tags/tag416.xml"/><Relationship Id="rId41" Type="http://schemas.openxmlformats.org/officeDocument/2006/relationships/tags" Target="../tags/tag437.xml"/><Relationship Id="rId54" Type="http://schemas.openxmlformats.org/officeDocument/2006/relationships/slideMaster" Target="../slideMasters/slideMaster2.xml"/><Relationship Id="rId1" Type="http://schemas.openxmlformats.org/officeDocument/2006/relationships/tags" Target="../tags/tag397.xml"/><Relationship Id="rId6" Type="http://schemas.openxmlformats.org/officeDocument/2006/relationships/tags" Target="../tags/tag402.xml"/><Relationship Id="rId15" Type="http://schemas.openxmlformats.org/officeDocument/2006/relationships/tags" Target="../tags/tag411.xml"/><Relationship Id="rId23" Type="http://schemas.openxmlformats.org/officeDocument/2006/relationships/tags" Target="../tags/tag419.xml"/><Relationship Id="rId28" Type="http://schemas.openxmlformats.org/officeDocument/2006/relationships/tags" Target="../tags/tag424.xml"/><Relationship Id="rId36" Type="http://schemas.openxmlformats.org/officeDocument/2006/relationships/tags" Target="../tags/tag432.xml"/><Relationship Id="rId49" Type="http://schemas.openxmlformats.org/officeDocument/2006/relationships/tags" Target="../tags/tag445.xml"/></Relationships>
</file>

<file path=ppt/slideLayouts/_rels/slideLayout43.xml.rels><?xml version="1.0" encoding="UTF-8" standalone="yes"?>
<Relationships xmlns="http://schemas.openxmlformats.org/package/2006/relationships"><Relationship Id="rId13" Type="http://schemas.openxmlformats.org/officeDocument/2006/relationships/tags" Target="../tags/tag462.xml"/><Relationship Id="rId18" Type="http://schemas.openxmlformats.org/officeDocument/2006/relationships/tags" Target="../tags/tag467.xml"/><Relationship Id="rId26" Type="http://schemas.openxmlformats.org/officeDocument/2006/relationships/tags" Target="../tags/tag475.xml"/><Relationship Id="rId39" Type="http://schemas.openxmlformats.org/officeDocument/2006/relationships/tags" Target="../tags/tag488.xml"/><Relationship Id="rId21" Type="http://schemas.openxmlformats.org/officeDocument/2006/relationships/tags" Target="../tags/tag470.xml"/><Relationship Id="rId34" Type="http://schemas.openxmlformats.org/officeDocument/2006/relationships/tags" Target="../tags/tag483.xml"/><Relationship Id="rId42" Type="http://schemas.openxmlformats.org/officeDocument/2006/relationships/tags" Target="../tags/tag491.xml"/><Relationship Id="rId47" Type="http://schemas.openxmlformats.org/officeDocument/2006/relationships/tags" Target="../tags/tag496.xml"/><Relationship Id="rId50" Type="http://schemas.openxmlformats.org/officeDocument/2006/relationships/tags" Target="../tags/tag499.xml"/><Relationship Id="rId55" Type="http://schemas.openxmlformats.org/officeDocument/2006/relationships/tags" Target="../tags/tag504.xml"/><Relationship Id="rId7" Type="http://schemas.openxmlformats.org/officeDocument/2006/relationships/tags" Target="../tags/tag456.xml"/><Relationship Id="rId2" Type="http://schemas.openxmlformats.org/officeDocument/2006/relationships/tags" Target="../tags/tag451.xml"/><Relationship Id="rId16" Type="http://schemas.openxmlformats.org/officeDocument/2006/relationships/tags" Target="../tags/tag465.xml"/><Relationship Id="rId29" Type="http://schemas.openxmlformats.org/officeDocument/2006/relationships/tags" Target="../tags/tag478.xml"/><Relationship Id="rId11" Type="http://schemas.openxmlformats.org/officeDocument/2006/relationships/tags" Target="../tags/tag460.xml"/><Relationship Id="rId24" Type="http://schemas.openxmlformats.org/officeDocument/2006/relationships/tags" Target="../tags/tag473.xml"/><Relationship Id="rId32" Type="http://schemas.openxmlformats.org/officeDocument/2006/relationships/tags" Target="../tags/tag481.xml"/><Relationship Id="rId37" Type="http://schemas.openxmlformats.org/officeDocument/2006/relationships/tags" Target="../tags/tag486.xml"/><Relationship Id="rId40" Type="http://schemas.openxmlformats.org/officeDocument/2006/relationships/tags" Target="../tags/tag489.xml"/><Relationship Id="rId45" Type="http://schemas.openxmlformats.org/officeDocument/2006/relationships/tags" Target="../tags/tag494.xml"/><Relationship Id="rId53" Type="http://schemas.openxmlformats.org/officeDocument/2006/relationships/tags" Target="../tags/tag502.xml"/><Relationship Id="rId5" Type="http://schemas.openxmlformats.org/officeDocument/2006/relationships/tags" Target="../tags/tag454.xml"/><Relationship Id="rId19" Type="http://schemas.openxmlformats.org/officeDocument/2006/relationships/tags" Target="../tags/tag468.xml"/><Relationship Id="rId4" Type="http://schemas.openxmlformats.org/officeDocument/2006/relationships/tags" Target="../tags/tag453.xml"/><Relationship Id="rId9" Type="http://schemas.openxmlformats.org/officeDocument/2006/relationships/tags" Target="../tags/tag458.xml"/><Relationship Id="rId14" Type="http://schemas.openxmlformats.org/officeDocument/2006/relationships/tags" Target="../tags/tag463.xml"/><Relationship Id="rId22" Type="http://schemas.openxmlformats.org/officeDocument/2006/relationships/tags" Target="../tags/tag471.xml"/><Relationship Id="rId27" Type="http://schemas.openxmlformats.org/officeDocument/2006/relationships/tags" Target="../tags/tag476.xml"/><Relationship Id="rId30" Type="http://schemas.openxmlformats.org/officeDocument/2006/relationships/tags" Target="../tags/tag479.xml"/><Relationship Id="rId35" Type="http://schemas.openxmlformats.org/officeDocument/2006/relationships/tags" Target="../tags/tag484.xml"/><Relationship Id="rId43" Type="http://schemas.openxmlformats.org/officeDocument/2006/relationships/tags" Target="../tags/tag492.xml"/><Relationship Id="rId48" Type="http://schemas.openxmlformats.org/officeDocument/2006/relationships/tags" Target="../tags/tag497.xml"/><Relationship Id="rId56" Type="http://schemas.openxmlformats.org/officeDocument/2006/relationships/tags" Target="../tags/tag505.xml"/><Relationship Id="rId8" Type="http://schemas.openxmlformats.org/officeDocument/2006/relationships/tags" Target="../tags/tag457.xml"/><Relationship Id="rId51" Type="http://schemas.openxmlformats.org/officeDocument/2006/relationships/tags" Target="../tags/tag500.xml"/><Relationship Id="rId3" Type="http://schemas.openxmlformats.org/officeDocument/2006/relationships/tags" Target="../tags/tag452.xml"/><Relationship Id="rId12" Type="http://schemas.openxmlformats.org/officeDocument/2006/relationships/tags" Target="../tags/tag461.xml"/><Relationship Id="rId17" Type="http://schemas.openxmlformats.org/officeDocument/2006/relationships/tags" Target="../tags/tag466.xml"/><Relationship Id="rId25" Type="http://schemas.openxmlformats.org/officeDocument/2006/relationships/tags" Target="../tags/tag474.xml"/><Relationship Id="rId33" Type="http://schemas.openxmlformats.org/officeDocument/2006/relationships/tags" Target="../tags/tag482.xml"/><Relationship Id="rId38" Type="http://schemas.openxmlformats.org/officeDocument/2006/relationships/tags" Target="../tags/tag487.xml"/><Relationship Id="rId46" Type="http://schemas.openxmlformats.org/officeDocument/2006/relationships/tags" Target="../tags/tag495.xml"/><Relationship Id="rId20" Type="http://schemas.openxmlformats.org/officeDocument/2006/relationships/tags" Target="../tags/tag469.xml"/><Relationship Id="rId41" Type="http://schemas.openxmlformats.org/officeDocument/2006/relationships/tags" Target="../tags/tag490.xml"/><Relationship Id="rId54" Type="http://schemas.openxmlformats.org/officeDocument/2006/relationships/tags" Target="../tags/tag503.xml"/><Relationship Id="rId1" Type="http://schemas.openxmlformats.org/officeDocument/2006/relationships/tags" Target="../tags/tag450.xml"/><Relationship Id="rId6" Type="http://schemas.openxmlformats.org/officeDocument/2006/relationships/tags" Target="../tags/tag455.xml"/><Relationship Id="rId15" Type="http://schemas.openxmlformats.org/officeDocument/2006/relationships/tags" Target="../tags/tag464.xml"/><Relationship Id="rId23" Type="http://schemas.openxmlformats.org/officeDocument/2006/relationships/tags" Target="../tags/tag472.xml"/><Relationship Id="rId28" Type="http://schemas.openxmlformats.org/officeDocument/2006/relationships/tags" Target="../tags/tag477.xml"/><Relationship Id="rId36" Type="http://schemas.openxmlformats.org/officeDocument/2006/relationships/tags" Target="../tags/tag485.xml"/><Relationship Id="rId49" Type="http://schemas.openxmlformats.org/officeDocument/2006/relationships/tags" Target="../tags/tag498.xml"/><Relationship Id="rId57" Type="http://schemas.openxmlformats.org/officeDocument/2006/relationships/slideMaster" Target="../slideMasters/slideMaster2.xml"/><Relationship Id="rId10" Type="http://schemas.openxmlformats.org/officeDocument/2006/relationships/tags" Target="../tags/tag459.xml"/><Relationship Id="rId31" Type="http://schemas.openxmlformats.org/officeDocument/2006/relationships/tags" Target="../tags/tag480.xml"/><Relationship Id="rId44" Type="http://schemas.openxmlformats.org/officeDocument/2006/relationships/tags" Target="../tags/tag493.xml"/><Relationship Id="rId52" Type="http://schemas.openxmlformats.org/officeDocument/2006/relationships/tags" Target="../tags/tag501.xml"/></Relationships>
</file>

<file path=ppt/slideLayouts/_rels/slideLayout44.xml.rels><?xml version="1.0" encoding="UTF-8" standalone="yes"?>
<Relationships xmlns="http://schemas.openxmlformats.org/package/2006/relationships"><Relationship Id="rId13" Type="http://schemas.openxmlformats.org/officeDocument/2006/relationships/tags" Target="../tags/tag518.xml"/><Relationship Id="rId18" Type="http://schemas.openxmlformats.org/officeDocument/2006/relationships/tags" Target="../tags/tag523.xml"/><Relationship Id="rId26" Type="http://schemas.openxmlformats.org/officeDocument/2006/relationships/tags" Target="../tags/tag531.xml"/><Relationship Id="rId39" Type="http://schemas.openxmlformats.org/officeDocument/2006/relationships/tags" Target="../tags/tag544.xml"/><Relationship Id="rId21" Type="http://schemas.openxmlformats.org/officeDocument/2006/relationships/tags" Target="../tags/tag526.xml"/><Relationship Id="rId34" Type="http://schemas.openxmlformats.org/officeDocument/2006/relationships/tags" Target="../tags/tag539.xml"/><Relationship Id="rId42" Type="http://schemas.openxmlformats.org/officeDocument/2006/relationships/tags" Target="../tags/tag547.xml"/><Relationship Id="rId47" Type="http://schemas.openxmlformats.org/officeDocument/2006/relationships/tags" Target="../tags/tag552.xml"/><Relationship Id="rId50" Type="http://schemas.openxmlformats.org/officeDocument/2006/relationships/tags" Target="../tags/tag555.xml"/><Relationship Id="rId55" Type="http://schemas.openxmlformats.org/officeDocument/2006/relationships/tags" Target="../tags/tag560.xml"/><Relationship Id="rId7" Type="http://schemas.openxmlformats.org/officeDocument/2006/relationships/tags" Target="../tags/tag512.xml"/><Relationship Id="rId2" Type="http://schemas.openxmlformats.org/officeDocument/2006/relationships/tags" Target="../tags/tag507.xml"/><Relationship Id="rId16" Type="http://schemas.openxmlformats.org/officeDocument/2006/relationships/tags" Target="../tags/tag521.xml"/><Relationship Id="rId29" Type="http://schemas.openxmlformats.org/officeDocument/2006/relationships/tags" Target="../tags/tag534.xml"/><Relationship Id="rId11" Type="http://schemas.openxmlformats.org/officeDocument/2006/relationships/tags" Target="../tags/tag516.xml"/><Relationship Id="rId24" Type="http://schemas.openxmlformats.org/officeDocument/2006/relationships/tags" Target="../tags/tag529.xml"/><Relationship Id="rId32" Type="http://schemas.openxmlformats.org/officeDocument/2006/relationships/tags" Target="../tags/tag537.xml"/><Relationship Id="rId37" Type="http://schemas.openxmlformats.org/officeDocument/2006/relationships/tags" Target="../tags/tag542.xml"/><Relationship Id="rId40" Type="http://schemas.openxmlformats.org/officeDocument/2006/relationships/tags" Target="../tags/tag545.xml"/><Relationship Id="rId45" Type="http://schemas.openxmlformats.org/officeDocument/2006/relationships/tags" Target="../tags/tag550.xml"/><Relationship Id="rId53" Type="http://schemas.openxmlformats.org/officeDocument/2006/relationships/tags" Target="../tags/tag558.xml"/><Relationship Id="rId58" Type="http://schemas.openxmlformats.org/officeDocument/2006/relationships/tags" Target="../tags/tag563.xml"/><Relationship Id="rId5" Type="http://schemas.openxmlformats.org/officeDocument/2006/relationships/tags" Target="../tags/tag510.xml"/><Relationship Id="rId19" Type="http://schemas.openxmlformats.org/officeDocument/2006/relationships/tags" Target="../tags/tag524.xml"/><Relationship Id="rId4" Type="http://schemas.openxmlformats.org/officeDocument/2006/relationships/tags" Target="../tags/tag509.xml"/><Relationship Id="rId9" Type="http://schemas.openxmlformats.org/officeDocument/2006/relationships/tags" Target="../tags/tag514.xml"/><Relationship Id="rId14" Type="http://schemas.openxmlformats.org/officeDocument/2006/relationships/tags" Target="../tags/tag519.xml"/><Relationship Id="rId22" Type="http://schemas.openxmlformats.org/officeDocument/2006/relationships/tags" Target="../tags/tag527.xml"/><Relationship Id="rId27" Type="http://schemas.openxmlformats.org/officeDocument/2006/relationships/tags" Target="../tags/tag532.xml"/><Relationship Id="rId30" Type="http://schemas.openxmlformats.org/officeDocument/2006/relationships/tags" Target="../tags/tag535.xml"/><Relationship Id="rId35" Type="http://schemas.openxmlformats.org/officeDocument/2006/relationships/tags" Target="../tags/tag540.xml"/><Relationship Id="rId43" Type="http://schemas.openxmlformats.org/officeDocument/2006/relationships/tags" Target="../tags/tag548.xml"/><Relationship Id="rId48" Type="http://schemas.openxmlformats.org/officeDocument/2006/relationships/tags" Target="../tags/tag553.xml"/><Relationship Id="rId56" Type="http://schemas.openxmlformats.org/officeDocument/2006/relationships/tags" Target="../tags/tag561.xml"/><Relationship Id="rId8" Type="http://schemas.openxmlformats.org/officeDocument/2006/relationships/tags" Target="../tags/tag513.xml"/><Relationship Id="rId51" Type="http://schemas.openxmlformats.org/officeDocument/2006/relationships/tags" Target="../tags/tag556.xml"/><Relationship Id="rId3" Type="http://schemas.openxmlformats.org/officeDocument/2006/relationships/tags" Target="../tags/tag508.xml"/><Relationship Id="rId12" Type="http://schemas.openxmlformats.org/officeDocument/2006/relationships/tags" Target="../tags/tag517.xml"/><Relationship Id="rId17" Type="http://schemas.openxmlformats.org/officeDocument/2006/relationships/tags" Target="../tags/tag522.xml"/><Relationship Id="rId25" Type="http://schemas.openxmlformats.org/officeDocument/2006/relationships/tags" Target="../tags/tag530.xml"/><Relationship Id="rId33" Type="http://schemas.openxmlformats.org/officeDocument/2006/relationships/tags" Target="../tags/tag538.xml"/><Relationship Id="rId38" Type="http://schemas.openxmlformats.org/officeDocument/2006/relationships/tags" Target="../tags/tag543.xml"/><Relationship Id="rId46" Type="http://schemas.openxmlformats.org/officeDocument/2006/relationships/tags" Target="../tags/tag551.xml"/><Relationship Id="rId59" Type="http://schemas.openxmlformats.org/officeDocument/2006/relationships/tags" Target="../tags/tag564.xml"/><Relationship Id="rId20" Type="http://schemas.openxmlformats.org/officeDocument/2006/relationships/tags" Target="../tags/tag525.xml"/><Relationship Id="rId41" Type="http://schemas.openxmlformats.org/officeDocument/2006/relationships/tags" Target="../tags/tag546.xml"/><Relationship Id="rId54" Type="http://schemas.openxmlformats.org/officeDocument/2006/relationships/tags" Target="../tags/tag559.xml"/><Relationship Id="rId1" Type="http://schemas.openxmlformats.org/officeDocument/2006/relationships/tags" Target="../tags/tag506.xml"/><Relationship Id="rId6" Type="http://schemas.openxmlformats.org/officeDocument/2006/relationships/tags" Target="../tags/tag511.xml"/><Relationship Id="rId15" Type="http://schemas.openxmlformats.org/officeDocument/2006/relationships/tags" Target="../tags/tag520.xml"/><Relationship Id="rId23" Type="http://schemas.openxmlformats.org/officeDocument/2006/relationships/tags" Target="../tags/tag528.xml"/><Relationship Id="rId28" Type="http://schemas.openxmlformats.org/officeDocument/2006/relationships/tags" Target="../tags/tag533.xml"/><Relationship Id="rId36" Type="http://schemas.openxmlformats.org/officeDocument/2006/relationships/tags" Target="../tags/tag541.xml"/><Relationship Id="rId49" Type="http://schemas.openxmlformats.org/officeDocument/2006/relationships/tags" Target="../tags/tag554.xml"/><Relationship Id="rId57" Type="http://schemas.openxmlformats.org/officeDocument/2006/relationships/tags" Target="../tags/tag562.xml"/><Relationship Id="rId10" Type="http://schemas.openxmlformats.org/officeDocument/2006/relationships/tags" Target="../tags/tag515.xml"/><Relationship Id="rId31" Type="http://schemas.openxmlformats.org/officeDocument/2006/relationships/tags" Target="../tags/tag536.xml"/><Relationship Id="rId44" Type="http://schemas.openxmlformats.org/officeDocument/2006/relationships/tags" Target="../tags/tag549.xml"/><Relationship Id="rId52" Type="http://schemas.openxmlformats.org/officeDocument/2006/relationships/tags" Target="../tags/tag557.xml"/><Relationship Id="rId60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12.xml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5" Type="http://schemas.openxmlformats.org/officeDocument/2006/relationships/image" Target="../media/image5.jpeg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117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16.xml"/><Relationship Id="rId1" Type="http://schemas.openxmlformats.org/officeDocument/2006/relationships/tags" Target="../tags/tag115.xml"/><Relationship Id="rId6" Type="http://schemas.openxmlformats.org/officeDocument/2006/relationships/tags" Target="../tags/tag120.xml"/><Relationship Id="rId5" Type="http://schemas.openxmlformats.org/officeDocument/2006/relationships/tags" Target="../tags/tag119.xml"/><Relationship Id="rId4" Type="http://schemas.openxmlformats.org/officeDocument/2006/relationships/tags" Target="../tags/tag11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mediate Cover +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9" descr="MiddleGray_24_L150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0" y="0"/>
            <a:ext cx="9144000" cy="3028950"/>
          </a:xfrm>
          <a:prstGeom prst="rect">
            <a:avLst/>
          </a:prstGeom>
          <a:noFill/>
        </p:spPr>
      </p:pic>
      <p:sp>
        <p:nvSpPr>
          <p:cNvPr id="16" name="Title 15"/>
          <p:cNvSpPr>
            <a:spLocks noGrp="1"/>
          </p:cNvSpPr>
          <p:nvPr>
            <p:ph type="title"/>
          </p:nvPr>
        </p:nvSpPr>
        <p:spPr bwMode="gray">
          <a:xfrm>
            <a:off x="250825" y="1563638"/>
            <a:ext cx="8642350" cy="864092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tabLst>
                <a:tab pos="3676650" algn="l"/>
              </a:tabLst>
              <a:defRPr kumimoji="1" lang="en-US" altLang="ja-JP" sz="3200" kern="1200" noProof="0" dirty="0" err="1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0"/>
          </p:nvPr>
        </p:nvSpPr>
        <p:spPr bwMode="gray">
          <a:xfrm>
            <a:off x="250825" y="2787779"/>
            <a:ext cx="8642350" cy="2015995"/>
          </a:xfrm>
        </p:spPr>
        <p:txBody>
          <a:bodyPr/>
          <a:lstStyle>
            <a:lvl1pPr marL="457200" indent="-457200">
              <a:spcAft>
                <a:spcPts val="300"/>
              </a:spcAft>
              <a:buClr>
                <a:schemeClr val="tx2"/>
              </a:buClr>
              <a:buFont typeface="+mj-lt"/>
              <a:buAutoNum type="arabicPeriod"/>
              <a:defRPr sz="2200"/>
            </a:lvl1pPr>
            <a:lvl2pPr marL="457200" indent="-457200">
              <a:spcBef>
                <a:spcPts val="516"/>
              </a:spcBef>
              <a:spcAft>
                <a:spcPts val="288"/>
              </a:spcAft>
              <a:buFont typeface="+mj-lt"/>
              <a:buAutoNum type="arabicPeriod"/>
              <a:defRPr sz="2400"/>
            </a:lvl2pPr>
            <a:lvl3pPr marL="457200" indent="-457200">
              <a:spcBef>
                <a:spcPts val="516"/>
              </a:spcBef>
              <a:spcAft>
                <a:spcPts val="288"/>
              </a:spcAft>
              <a:buFont typeface="+mj-lt"/>
              <a:buAutoNum type="arabicPeriod"/>
              <a:defRPr sz="2400"/>
            </a:lvl3pPr>
            <a:lvl4pPr marL="457200" indent="-457200">
              <a:spcBef>
                <a:spcPts val="516"/>
              </a:spcBef>
              <a:spcAft>
                <a:spcPts val="288"/>
              </a:spcAft>
              <a:buFont typeface="+mj-lt"/>
              <a:buAutoNum type="arabicPeriod"/>
              <a:defRPr sz="2400"/>
            </a:lvl4pPr>
            <a:lvl5pPr marL="457200" indent="-457200">
              <a:spcBef>
                <a:spcPts val="516"/>
              </a:spcBef>
              <a:spcAft>
                <a:spcPts val="288"/>
              </a:spcAft>
              <a:buFont typeface="+mj-lt"/>
              <a:buAutoNum type="arabicPeriod"/>
              <a:defRPr sz="2400"/>
            </a:lvl5pPr>
          </a:lstStyle>
          <a:p>
            <a:pPr lvl="0"/>
            <a:r>
              <a:rPr lang="de-DE" noProof="0" smtClean="0"/>
              <a:t>Textmasterformate durch Klicken bearbeiten</a:t>
            </a:r>
          </a:p>
        </p:txBody>
      </p:sp>
      <p:pic>
        <p:nvPicPr>
          <p:cNvPr id="17" name="Picture 3" descr="Fujitsu_Logo"/>
          <p:cNvPicPr>
            <a:picLocks noChangeAspect="1" noChangeArrowheads="1"/>
          </p:cNvPicPr>
          <p:nvPr userDrawn="1"/>
        </p:nvPicPr>
        <p:blipFill>
          <a:blip r:embed="rId3" cstate="print"/>
          <a:srcRect b="20259"/>
          <a:stretch>
            <a:fillRect/>
          </a:stretch>
        </p:blipFill>
        <p:spPr bwMode="auto">
          <a:xfrm>
            <a:off x="7664790" y="243040"/>
            <a:ext cx="1252195" cy="499082"/>
          </a:xfrm>
          <a:prstGeom prst="rect">
            <a:avLst/>
          </a:prstGeom>
          <a:noFill/>
        </p:spPr>
      </p:pic>
      <p:sp>
        <p:nvSpPr>
          <p:cNvPr id="7" name="Rectangle 23"/>
          <p:cNvSpPr>
            <a:spLocks noChangeArrowheads="1"/>
          </p:cNvSpPr>
          <p:nvPr userDrawn="1"/>
        </p:nvSpPr>
        <p:spPr bwMode="gray">
          <a:xfrm>
            <a:off x="7449687" y="4982134"/>
            <a:ext cx="1433513" cy="141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dirty="0">
                <a:latin typeface="+mn-lt"/>
              </a:rPr>
              <a:t>Copyright </a:t>
            </a:r>
            <a:r>
              <a:rPr lang="en-US" altLang="ja-JP" sz="800" dirty="0" smtClean="0">
                <a:latin typeface="+mn-lt"/>
              </a:rPr>
              <a:t>2016 </a:t>
            </a:r>
            <a:r>
              <a:rPr lang="en-US" altLang="ja-JP" sz="800" dirty="0">
                <a:latin typeface="+mn-lt"/>
              </a:rPr>
              <a:t>FUJITSU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912404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7064866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ermediat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9" descr="MiddleGray_24_L15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0" y="0"/>
            <a:ext cx="9144000" cy="3028950"/>
          </a:xfrm>
          <a:prstGeom prst="rect">
            <a:avLst/>
          </a:prstGeom>
          <a:noFill/>
        </p:spPr>
      </p:pic>
      <p:sp>
        <p:nvSpPr>
          <p:cNvPr id="16" name="Title 15"/>
          <p:cNvSpPr>
            <a:spLocks noGrp="1"/>
          </p:cNvSpPr>
          <p:nvPr>
            <p:ph type="title"/>
          </p:nvPr>
        </p:nvSpPr>
        <p:spPr bwMode="gray">
          <a:xfrm>
            <a:off x="250825" y="1563638"/>
            <a:ext cx="8642350" cy="864092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tabLst>
                <a:tab pos="3676650" algn="l"/>
              </a:tabLst>
              <a:defRPr kumimoji="1" lang="en-US" altLang="ja-JP" sz="3200" kern="1200" noProof="0" dirty="0" err="1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0"/>
          </p:nvPr>
        </p:nvSpPr>
        <p:spPr bwMode="gray">
          <a:xfrm>
            <a:off x="250824" y="2787780"/>
            <a:ext cx="8642351" cy="2015995"/>
          </a:xfrm>
        </p:spPr>
        <p:txBody>
          <a:bodyPr/>
          <a:lstStyle>
            <a:lvl1pPr>
              <a:spcAft>
                <a:spcPts val="300"/>
              </a:spcAft>
              <a:buClr>
                <a:schemeClr val="tx2"/>
              </a:buClr>
              <a:buFont typeface="Wingdings" pitchFamily="2" charset="2"/>
              <a:buChar char="n"/>
              <a:defRPr sz="2200"/>
            </a:lvl1pPr>
            <a:lvl2pPr marL="266700" indent="-266700">
              <a:spcBef>
                <a:spcPts val="516"/>
              </a:spcBef>
              <a:buFont typeface="Wingdings" pitchFamily="2" charset="2"/>
              <a:buChar char="n"/>
              <a:defRPr sz="2400"/>
            </a:lvl2pPr>
            <a:lvl3pPr marL="266700" indent="-266700">
              <a:spcBef>
                <a:spcPts val="516"/>
              </a:spcBef>
              <a:spcAft>
                <a:spcPts val="288"/>
              </a:spcAft>
              <a:buFont typeface="Wingdings" pitchFamily="2" charset="2"/>
              <a:buChar char="n"/>
              <a:defRPr sz="2400"/>
            </a:lvl3pPr>
            <a:lvl4pPr marL="266700" indent="-266700">
              <a:spcBef>
                <a:spcPts val="516"/>
              </a:spcBef>
              <a:spcAft>
                <a:spcPts val="288"/>
              </a:spcAft>
              <a:buFont typeface="Wingdings" pitchFamily="2" charset="2"/>
              <a:buChar char="n"/>
              <a:defRPr sz="2400"/>
            </a:lvl4pPr>
            <a:lvl5pPr marL="266700" indent="-266700">
              <a:spcBef>
                <a:spcPts val="516"/>
              </a:spcBef>
              <a:spcAft>
                <a:spcPts val="288"/>
              </a:spcAft>
              <a:buFont typeface="Wingdings" pitchFamily="2" charset="2"/>
              <a:buChar char="n"/>
              <a:defRPr sz="2400"/>
            </a:lvl5pPr>
          </a:lstStyle>
          <a:p>
            <a:pPr lvl="0"/>
            <a:r>
              <a:rPr lang="de-DE" noProof="0" smtClean="0"/>
              <a:t>Textmasterformat bearbeiten</a:t>
            </a:r>
          </a:p>
        </p:txBody>
      </p:sp>
      <p:grpSp>
        <p:nvGrpSpPr>
          <p:cNvPr id="14" name="Group 13"/>
          <p:cNvGrpSpPr/>
          <p:nvPr/>
        </p:nvGrpSpPr>
        <p:grpSpPr>
          <a:xfrm>
            <a:off x="8010525" y="249238"/>
            <a:ext cx="892176" cy="434975"/>
            <a:chOff x="8010525" y="249238"/>
            <a:chExt cx="892176" cy="434975"/>
          </a:xfrm>
        </p:grpSpPr>
        <p:sp>
          <p:nvSpPr>
            <p:cNvPr id="15" name="Freeform 68"/>
            <p:cNvSpPr>
              <a:spLocks/>
            </p:cNvSpPr>
            <p:nvPr userDrawn="1"/>
          </p:nvSpPr>
          <p:spPr bwMode="gray">
            <a:xfrm>
              <a:off x="8305800" y="249238"/>
              <a:ext cx="179388" cy="139700"/>
            </a:xfrm>
            <a:custGeom>
              <a:avLst/>
              <a:gdLst/>
              <a:ahLst/>
              <a:cxnLst>
                <a:cxn ang="0">
                  <a:pos x="961" y="764"/>
                </a:cxn>
                <a:cxn ang="0">
                  <a:pos x="599" y="642"/>
                </a:cxn>
                <a:cxn ang="0">
                  <a:pos x="1" y="1235"/>
                </a:cxn>
                <a:cxn ang="0">
                  <a:pos x="599" y="1825"/>
                </a:cxn>
                <a:cxn ang="0">
                  <a:pos x="1053" y="1619"/>
                </a:cxn>
                <a:cxn ang="0">
                  <a:pos x="1053" y="1293"/>
                </a:cxn>
                <a:cxn ang="0">
                  <a:pos x="771" y="1568"/>
                </a:cxn>
                <a:cxn ang="0">
                  <a:pos x="599" y="1604"/>
                </a:cxn>
                <a:cxn ang="0">
                  <a:pos x="225" y="1235"/>
                </a:cxn>
                <a:cxn ang="0">
                  <a:pos x="599" y="863"/>
                </a:cxn>
                <a:cxn ang="0">
                  <a:pos x="861" y="972"/>
                </a:cxn>
                <a:cxn ang="0">
                  <a:pos x="1093" y="1239"/>
                </a:cxn>
                <a:cxn ang="0">
                  <a:pos x="1630" y="1473"/>
                </a:cxn>
                <a:cxn ang="0">
                  <a:pos x="2365" y="741"/>
                </a:cxn>
                <a:cxn ang="0">
                  <a:pos x="1630" y="0"/>
                </a:cxn>
                <a:cxn ang="0">
                  <a:pos x="1053" y="295"/>
                </a:cxn>
                <a:cxn ang="0">
                  <a:pos x="1053" y="735"/>
                </a:cxn>
                <a:cxn ang="0">
                  <a:pos x="1630" y="232"/>
                </a:cxn>
                <a:cxn ang="0">
                  <a:pos x="2134" y="741"/>
                </a:cxn>
                <a:cxn ang="0">
                  <a:pos x="1630" y="1245"/>
                </a:cxn>
                <a:cxn ang="0">
                  <a:pos x="1303" y="1125"/>
                </a:cxn>
                <a:cxn ang="0">
                  <a:pos x="961" y="764"/>
                </a:cxn>
              </a:cxnLst>
              <a:rect l="0" t="0" r="r" b="b"/>
              <a:pathLst>
                <a:path w="2365" h="1825">
                  <a:moveTo>
                    <a:pt x="961" y="764"/>
                  </a:moveTo>
                  <a:cubicBezTo>
                    <a:pt x="875" y="688"/>
                    <a:pt x="736" y="643"/>
                    <a:pt x="599" y="642"/>
                  </a:cubicBezTo>
                  <a:cubicBezTo>
                    <a:pt x="270" y="641"/>
                    <a:pt x="2" y="900"/>
                    <a:pt x="1" y="1235"/>
                  </a:cubicBezTo>
                  <a:cubicBezTo>
                    <a:pt x="0" y="1563"/>
                    <a:pt x="270" y="1824"/>
                    <a:pt x="599" y="1825"/>
                  </a:cubicBezTo>
                  <a:cubicBezTo>
                    <a:pt x="783" y="1825"/>
                    <a:pt x="943" y="1751"/>
                    <a:pt x="1053" y="1619"/>
                  </a:cubicBezTo>
                  <a:cubicBezTo>
                    <a:pt x="1053" y="1293"/>
                    <a:pt x="1053" y="1293"/>
                    <a:pt x="1053" y="1293"/>
                  </a:cubicBezTo>
                  <a:cubicBezTo>
                    <a:pt x="994" y="1394"/>
                    <a:pt x="877" y="1524"/>
                    <a:pt x="771" y="1568"/>
                  </a:cubicBezTo>
                  <a:cubicBezTo>
                    <a:pt x="717" y="1590"/>
                    <a:pt x="662" y="1604"/>
                    <a:pt x="599" y="1604"/>
                  </a:cubicBezTo>
                  <a:cubicBezTo>
                    <a:pt x="394" y="1604"/>
                    <a:pt x="225" y="1445"/>
                    <a:pt x="225" y="1235"/>
                  </a:cubicBezTo>
                  <a:cubicBezTo>
                    <a:pt x="225" y="1041"/>
                    <a:pt x="380" y="862"/>
                    <a:pt x="599" y="863"/>
                  </a:cubicBezTo>
                  <a:cubicBezTo>
                    <a:pt x="701" y="863"/>
                    <a:pt x="793" y="905"/>
                    <a:pt x="861" y="972"/>
                  </a:cubicBezTo>
                  <a:cubicBezTo>
                    <a:pt x="931" y="1040"/>
                    <a:pt x="1041" y="1183"/>
                    <a:pt x="1093" y="1239"/>
                  </a:cubicBezTo>
                  <a:cubicBezTo>
                    <a:pt x="1227" y="1383"/>
                    <a:pt x="1419" y="1473"/>
                    <a:pt x="1630" y="1473"/>
                  </a:cubicBezTo>
                  <a:cubicBezTo>
                    <a:pt x="2036" y="1474"/>
                    <a:pt x="2365" y="1146"/>
                    <a:pt x="2365" y="741"/>
                  </a:cubicBezTo>
                  <a:cubicBezTo>
                    <a:pt x="2365" y="336"/>
                    <a:pt x="2035" y="0"/>
                    <a:pt x="1630" y="0"/>
                  </a:cubicBezTo>
                  <a:cubicBezTo>
                    <a:pt x="1395" y="0"/>
                    <a:pt x="1187" y="122"/>
                    <a:pt x="1053" y="295"/>
                  </a:cubicBezTo>
                  <a:cubicBezTo>
                    <a:pt x="1053" y="735"/>
                    <a:pt x="1053" y="735"/>
                    <a:pt x="1053" y="735"/>
                  </a:cubicBezTo>
                  <a:cubicBezTo>
                    <a:pt x="1155" y="455"/>
                    <a:pt x="1340" y="232"/>
                    <a:pt x="1630" y="232"/>
                  </a:cubicBezTo>
                  <a:cubicBezTo>
                    <a:pt x="1909" y="232"/>
                    <a:pt x="2135" y="463"/>
                    <a:pt x="2134" y="741"/>
                  </a:cubicBezTo>
                  <a:cubicBezTo>
                    <a:pt x="2134" y="1020"/>
                    <a:pt x="1909" y="1246"/>
                    <a:pt x="1630" y="1245"/>
                  </a:cubicBezTo>
                  <a:cubicBezTo>
                    <a:pt x="1506" y="1244"/>
                    <a:pt x="1391" y="1199"/>
                    <a:pt x="1303" y="1125"/>
                  </a:cubicBezTo>
                  <a:cubicBezTo>
                    <a:pt x="1194" y="1040"/>
                    <a:pt x="1074" y="860"/>
                    <a:pt x="961" y="764"/>
                  </a:cubicBezTo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" name="Freeform 69"/>
            <p:cNvSpPr>
              <a:spLocks/>
            </p:cNvSpPr>
            <p:nvPr userDrawn="1"/>
          </p:nvSpPr>
          <p:spPr bwMode="gray">
            <a:xfrm>
              <a:off x="8010525" y="401638"/>
              <a:ext cx="123825" cy="201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4" y="0"/>
                </a:cxn>
                <a:cxn ang="0">
                  <a:pos x="1624" y="452"/>
                </a:cxn>
                <a:cxn ang="0">
                  <a:pos x="1365" y="273"/>
                </a:cxn>
                <a:cxn ang="0">
                  <a:pos x="613" y="273"/>
                </a:cxn>
                <a:cxn ang="0">
                  <a:pos x="613" y="1053"/>
                </a:cxn>
                <a:cxn ang="0">
                  <a:pos x="1428" y="1053"/>
                </a:cxn>
                <a:cxn ang="0">
                  <a:pos x="1428" y="1467"/>
                </a:cxn>
                <a:cxn ang="0">
                  <a:pos x="1205" y="1335"/>
                </a:cxn>
                <a:cxn ang="0">
                  <a:pos x="613" y="1335"/>
                </a:cxn>
                <a:cxn ang="0">
                  <a:pos x="613" y="2401"/>
                </a:cxn>
                <a:cxn ang="0">
                  <a:pos x="784" y="2651"/>
                </a:cxn>
                <a:cxn ang="0">
                  <a:pos x="11" y="2651"/>
                </a:cxn>
                <a:cxn ang="0">
                  <a:pos x="173" y="2401"/>
                </a:cxn>
                <a:cxn ang="0">
                  <a:pos x="173" y="278"/>
                </a:cxn>
                <a:cxn ang="0">
                  <a:pos x="0" y="0"/>
                </a:cxn>
              </a:cxnLst>
              <a:rect l="0" t="0" r="r" b="b"/>
              <a:pathLst>
                <a:path w="1624" h="2651">
                  <a:moveTo>
                    <a:pt x="0" y="0"/>
                  </a:moveTo>
                  <a:cubicBezTo>
                    <a:pt x="1624" y="0"/>
                    <a:pt x="1624" y="0"/>
                    <a:pt x="1624" y="0"/>
                  </a:cubicBezTo>
                  <a:cubicBezTo>
                    <a:pt x="1624" y="452"/>
                    <a:pt x="1624" y="452"/>
                    <a:pt x="1624" y="452"/>
                  </a:cubicBezTo>
                  <a:cubicBezTo>
                    <a:pt x="1624" y="452"/>
                    <a:pt x="1540" y="274"/>
                    <a:pt x="1365" y="273"/>
                  </a:cubicBezTo>
                  <a:cubicBezTo>
                    <a:pt x="613" y="273"/>
                    <a:pt x="613" y="273"/>
                    <a:pt x="613" y="273"/>
                  </a:cubicBezTo>
                  <a:cubicBezTo>
                    <a:pt x="613" y="1053"/>
                    <a:pt x="613" y="1053"/>
                    <a:pt x="613" y="1053"/>
                  </a:cubicBezTo>
                  <a:cubicBezTo>
                    <a:pt x="1428" y="1053"/>
                    <a:pt x="1428" y="1053"/>
                    <a:pt x="1428" y="1053"/>
                  </a:cubicBezTo>
                  <a:cubicBezTo>
                    <a:pt x="1428" y="1467"/>
                    <a:pt x="1428" y="1467"/>
                    <a:pt x="1428" y="1467"/>
                  </a:cubicBezTo>
                  <a:cubicBezTo>
                    <a:pt x="1428" y="1467"/>
                    <a:pt x="1402" y="1335"/>
                    <a:pt x="1205" y="1335"/>
                  </a:cubicBezTo>
                  <a:cubicBezTo>
                    <a:pt x="613" y="1335"/>
                    <a:pt x="613" y="1335"/>
                    <a:pt x="613" y="1335"/>
                  </a:cubicBezTo>
                  <a:cubicBezTo>
                    <a:pt x="613" y="2401"/>
                    <a:pt x="613" y="2401"/>
                    <a:pt x="613" y="2401"/>
                  </a:cubicBezTo>
                  <a:cubicBezTo>
                    <a:pt x="613" y="2558"/>
                    <a:pt x="784" y="2651"/>
                    <a:pt x="784" y="2651"/>
                  </a:cubicBezTo>
                  <a:cubicBezTo>
                    <a:pt x="11" y="2651"/>
                    <a:pt x="11" y="2651"/>
                    <a:pt x="11" y="2651"/>
                  </a:cubicBezTo>
                  <a:cubicBezTo>
                    <a:pt x="11" y="2651"/>
                    <a:pt x="173" y="2569"/>
                    <a:pt x="173" y="2401"/>
                  </a:cubicBezTo>
                  <a:cubicBezTo>
                    <a:pt x="173" y="278"/>
                    <a:pt x="173" y="278"/>
                    <a:pt x="173" y="278"/>
                  </a:cubicBezTo>
                  <a:cubicBezTo>
                    <a:pt x="173" y="9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Freeform 70"/>
            <p:cNvSpPr>
              <a:spLocks/>
            </p:cNvSpPr>
            <p:nvPr userDrawn="1"/>
          </p:nvSpPr>
          <p:spPr bwMode="gray">
            <a:xfrm>
              <a:off x="8304213" y="401638"/>
              <a:ext cx="80963" cy="282575"/>
            </a:xfrm>
            <a:custGeom>
              <a:avLst/>
              <a:gdLst/>
              <a:ahLst/>
              <a:cxnLst>
                <a:cxn ang="0">
                  <a:pos x="246" y="0"/>
                </a:cxn>
                <a:cxn ang="0">
                  <a:pos x="1072" y="0"/>
                </a:cxn>
                <a:cxn ang="0">
                  <a:pos x="887" y="230"/>
                </a:cxn>
                <a:cxn ang="0">
                  <a:pos x="887" y="2717"/>
                </a:cxn>
                <a:cxn ang="0">
                  <a:pos x="0" y="3693"/>
                </a:cxn>
                <a:cxn ang="0">
                  <a:pos x="423" y="2717"/>
                </a:cxn>
                <a:cxn ang="0">
                  <a:pos x="423" y="230"/>
                </a:cxn>
                <a:cxn ang="0">
                  <a:pos x="246" y="0"/>
                </a:cxn>
              </a:cxnLst>
              <a:rect l="0" t="0" r="r" b="b"/>
              <a:pathLst>
                <a:path w="1072" h="3696">
                  <a:moveTo>
                    <a:pt x="246" y="0"/>
                  </a:moveTo>
                  <a:cubicBezTo>
                    <a:pt x="1072" y="0"/>
                    <a:pt x="1072" y="0"/>
                    <a:pt x="1072" y="0"/>
                  </a:cubicBezTo>
                  <a:cubicBezTo>
                    <a:pt x="1072" y="0"/>
                    <a:pt x="887" y="87"/>
                    <a:pt x="887" y="230"/>
                  </a:cubicBezTo>
                  <a:cubicBezTo>
                    <a:pt x="887" y="2717"/>
                    <a:pt x="887" y="2717"/>
                    <a:pt x="887" y="2717"/>
                  </a:cubicBezTo>
                  <a:cubicBezTo>
                    <a:pt x="887" y="3558"/>
                    <a:pt x="44" y="3696"/>
                    <a:pt x="0" y="3693"/>
                  </a:cubicBezTo>
                  <a:cubicBezTo>
                    <a:pt x="72" y="3647"/>
                    <a:pt x="422" y="3349"/>
                    <a:pt x="423" y="2717"/>
                  </a:cubicBezTo>
                  <a:cubicBezTo>
                    <a:pt x="423" y="230"/>
                    <a:pt x="423" y="230"/>
                    <a:pt x="423" y="230"/>
                  </a:cubicBezTo>
                  <a:cubicBezTo>
                    <a:pt x="424" y="96"/>
                    <a:pt x="246" y="0"/>
                    <a:pt x="246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" name="Freeform 71"/>
            <p:cNvSpPr>
              <a:spLocks/>
            </p:cNvSpPr>
            <p:nvPr userDrawn="1"/>
          </p:nvSpPr>
          <p:spPr bwMode="gray">
            <a:xfrm>
              <a:off x="8394700" y="401638"/>
              <a:ext cx="63500" cy="201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28" y="0"/>
                </a:cxn>
                <a:cxn ang="0">
                  <a:pos x="645" y="235"/>
                </a:cxn>
                <a:cxn ang="0">
                  <a:pos x="645" y="2401"/>
                </a:cxn>
                <a:cxn ang="0">
                  <a:pos x="828" y="2653"/>
                </a:cxn>
                <a:cxn ang="0">
                  <a:pos x="0" y="2653"/>
                </a:cxn>
                <a:cxn ang="0">
                  <a:pos x="184" y="2401"/>
                </a:cxn>
                <a:cxn ang="0">
                  <a:pos x="184" y="235"/>
                </a:cxn>
                <a:cxn ang="0">
                  <a:pos x="0" y="0"/>
                </a:cxn>
              </a:cxnLst>
              <a:rect l="0" t="0" r="r" b="b"/>
              <a:pathLst>
                <a:path w="828" h="2653">
                  <a:moveTo>
                    <a:pt x="0" y="0"/>
                  </a:moveTo>
                  <a:cubicBezTo>
                    <a:pt x="828" y="0"/>
                    <a:pt x="828" y="0"/>
                    <a:pt x="828" y="0"/>
                  </a:cubicBezTo>
                  <a:cubicBezTo>
                    <a:pt x="828" y="0"/>
                    <a:pt x="645" y="89"/>
                    <a:pt x="645" y="235"/>
                  </a:cubicBezTo>
                  <a:cubicBezTo>
                    <a:pt x="645" y="2401"/>
                    <a:pt x="645" y="2401"/>
                    <a:pt x="645" y="2401"/>
                  </a:cubicBezTo>
                  <a:cubicBezTo>
                    <a:pt x="645" y="2556"/>
                    <a:pt x="828" y="2653"/>
                    <a:pt x="828" y="2653"/>
                  </a:cubicBezTo>
                  <a:cubicBezTo>
                    <a:pt x="0" y="2653"/>
                    <a:pt x="0" y="2653"/>
                    <a:pt x="0" y="2653"/>
                  </a:cubicBezTo>
                  <a:cubicBezTo>
                    <a:pt x="0" y="2653"/>
                    <a:pt x="184" y="2557"/>
                    <a:pt x="184" y="2401"/>
                  </a:cubicBezTo>
                  <a:cubicBezTo>
                    <a:pt x="184" y="235"/>
                    <a:pt x="184" y="235"/>
                    <a:pt x="184" y="235"/>
                  </a:cubicBezTo>
                  <a:cubicBezTo>
                    <a:pt x="184" y="8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" name="Freeform 72"/>
            <p:cNvSpPr>
              <a:spLocks/>
            </p:cNvSpPr>
            <p:nvPr userDrawn="1"/>
          </p:nvSpPr>
          <p:spPr bwMode="gray">
            <a:xfrm>
              <a:off x="8458200" y="401638"/>
              <a:ext cx="150813" cy="201613"/>
            </a:xfrm>
            <a:custGeom>
              <a:avLst/>
              <a:gdLst/>
              <a:ahLst/>
              <a:cxnLst>
                <a:cxn ang="0">
                  <a:pos x="161" y="0"/>
                </a:cxn>
                <a:cxn ang="0">
                  <a:pos x="1984" y="0"/>
                </a:cxn>
                <a:cxn ang="0">
                  <a:pos x="1829" y="482"/>
                </a:cxn>
                <a:cxn ang="0">
                  <a:pos x="1607" y="279"/>
                </a:cxn>
                <a:cxn ang="0">
                  <a:pos x="1229" y="279"/>
                </a:cxn>
                <a:cxn ang="0">
                  <a:pos x="1229" y="2401"/>
                </a:cxn>
                <a:cxn ang="0">
                  <a:pos x="1407" y="2651"/>
                </a:cxn>
                <a:cxn ang="0">
                  <a:pos x="595" y="2651"/>
                </a:cxn>
                <a:cxn ang="0">
                  <a:pos x="771" y="2401"/>
                </a:cxn>
                <a:cxn ang="0">
                  <a:pos x="771" y="279"/>
                </a:cxn>
                <a:cxn ang="0">
                  <a:pos x="315" y="279"/>
                </a:cxn>
                <a:cxn ang="0">
                  <a:pos x="0" y="522"/>
                </a:cxn>
                <a:cxn ang="0">
                  <a:pos x="161" y="0"/>
                </a:cxn>
              </a:cxnLst>
              <a:rect l="0" t="0" r="r" b="b"/>
              <a:pathLst>
                <a:path w="1984" h="2651">
                  <a:moveTo>
                    <a:pt x="161" y="0"/>
                  </a:moveTo>
                  <a:cubicBezTo>
                    <a:pt x="1984" y="0"/>
                    <a:pt x="1984" y="0"/>
                    <a:pt x="1984" y="0"/>
                  </a:cubicBezTo>
                  <a:cubicBezTo>
                    <a:pt x="1829" y="482"/>
                    <a:pt x="1829" y="482"/>
                    <a:pt x="1829" y="482"/>
                  </a:cubicBezTo>
                  <a:cubicBezTo>
                    <a:pt x="1829" y="482"/>
                    <a:pt x="1783" y="279"/>
                    <a:pt x="1607" y="279"/>
                  </a:cubicBezTo>
                  <a:cubicBezTo>
                    <a:pt x="1229" y="279"/>
                    <a:pt x="1229" y="279"/>
                    <a:pt x="1229" y="279"/>
                  </a:cubicBezTo>
                  <a:cubicBezTo>
                    <a:pt x="1229" y="2401"/>
                    <a:pt x="1229" y="2401"/>
                    <a:pt x="1229" y="2401"/>
                  </a:cubicBezTo>
                  <a:cubicBezTo>
                    <a:pt x="1229" y="2535"/>
                    <a:pt x="1407" y="2651"/>
                    <a:pt x="1407" y="2651"/>
                  </a:cubicBezTo>
                  <a:cubicBezTo>
                    <a:pt x="595" y="2651"/>
                    <a:pt x="595" y="2651"/>
                    <a:pt x="595" y="2651"/>
                  </a:cubicBezTo>
                  <a:cubicBezTo>
                    <a:pt x="595" y="2651"/>
                    <a:pt x="771" y="2547"/>
                    <a:pt x="771" y="2401"/>
                  </a:cubicBezTo>
                  <a:cubicBezTo>
                    <a:pt x="771" y="279"/>
                    <a:pt x="771" y="279"/>
                    <a:pt x="771" y="279"/>
                  </a:cubicBezTo>
                  <a:cubicBezTo>
                    <a:pt x="315" y="279"/>
                    <a:pt x="315" y="279"/>
                    <a:pt x="315" y="279"/>
                  </a:cubicBezTo>
                  <a:cubicBezTo>
                    <a:pt x="185" y="280"/>
                    <a:pt x="0" y="522"/>
                    <a:pt x="0" y="522"/>
                  </a:cubicBezTo>
                  <a:lnTo>
                    <a:pt x="161" y="0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3" name="Freeform 73"/>
            <p:cNvSpPr>
              <a:spLocks/>
            </p:cNvSpPr>
            <p:nvPr userDrawn="1"/>
          </p:nvSpPr>
          <p:spPr bwMode="gray">
            <a:xfrm>
              <a:off x="8732838" y="401638"/>
              <a:ext cx="169863" cy="204788"/>
            </a:xfrm>
            <a:custGeom>
              <a:avLst/>
              <a:gdLst/>
              <a:ahLst/>
              <a:cxnLst>
                <a:cxn ang="0">
                  <a:pos x="1420" y="0"/>
                </a:cxn>
                <a:cxn ang="0">
                  <a:pos x="2219" y="0"/>
                </a:cxn>
                <a:cxn ang="0">
                  <a:pos x="2048" y="234"/>
                </a:cxn>
                <a:cxn ang="0">
                  <a:pos x="2048" y="1840"/>
                </a:cxn>
                <a:cxn ang="0">
                  <a:pos x="1131" y="2693"/>
                </a:cxn>
                <a:cxn ang="0">
                  <a:pos x="176" y="1840"/>
                </a:cxn>
                <a:cxn ang="0">
                  <a:pos x="176" y="234"/>
                </a:cxn>
                <a:cxn ang="0">
                  <a:pos x="0" y="0"/>
                </a:cxn>
                <a:cxn ang="0">
                  <a:pos x="821" y="0"/>
                </a:cxn>
                <a:cxn ang="0">
                  <a:pos x="638" y="234"/>
                </a:cxn>
                <a:cxn ang="0">
                  <a:pos x="638" y="1840"/>
                </a:cxn>
                <a:cxn ang="0">
                  <a:pos x="1131" y="2406"/>
                </a:cxn>
                <a:cxn ang="0">
                  <a:pos x="1601" y="1840"/>
                </a:cxn>
                <a:cxn ang="0">
                  <a:pos x="1601" y="234"/>
                </a:cxn>
                <a:cxn ang="0">
                  <a:pos x="1420" y="0"/>
                </a:cxn>
              </a:cxnLst>
              <a:rect l="0" t="0" r="r" b="b"/>
              <a:pathLst>
                <a:path w="2219" h="2693">
                  <a:moveTo>
                    <a:pt x="1420" y="0"/>
                  </a:moveTo>
                  <a:cubicBezTo>
                    <a:pt x="2219" y="0"/>
                    <a:pt x="2219" y="0"/>
                    <a:pt x="2219" y="0"/>
                  </a:cubicBezTo>
                  <a:cubicBezTo>
                    <a:pt x="2219" y="0"/>
                    <a:pt x="2048" y="91"/>
                    <a:pt x="2048" y="234"/>
                  </a:cubicBezTo>
                  <a:cubicBezTo>
                    <a:pt x="2048" y="1840"/>
                    <a:pt x="2048" y="1840"/>
                    <a:pt x="2048" y="1840"/>
                  </a:cubicBezTo>
                  <a:cubicBezTo>
                    <a:pt x="2047" y="2492"/>
                    <a:pt x="1506" y="2693"/>
                    <a:pt x="1131" y="2693"/>
                  </a:cubicBezTo>
                  <a:cubicBezTo>
                    <a:pt x="759" y="2693"/>
                    <a:pt x="175" y="2490"/>
                    <a:pt x="176" y="1840"/>
                  </a:cubicBezTo>
                  <a:cubicBezTo>
                    <a:pt x="176" y="234"/>
                    <a:pt x="176" y="234"/>
                    <a:pt x="176" y="234"/>
                  </a:cubicBezTo>
                  <a:cubicBezTo>
                    <a:pt x="176" y="91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8" y="88"/>
                    <a:pt x="638" y="234"/>
                  </a:cubicBezTo>
                  <a:cubicBezTo>
                    <a:pt x="638" y="1840"/>
                    <a:pt x="638" y="1840"/>
                    <a:pt x="638" y="1840"/>
                  </a:cubicBezTo>
                  <a:cubicBezTo>
                    <a:pt x="638" y="2182"/>
                    <a:pt x="865" y="2406"/>
                    <a:pt x="1131" y="2406"/>
                  </a:cubicBezTo>
                  <a:cubicBezTo>
                    <a:pt x="1397" y="2406"/>
                    <a:pt x="1600" y="2173"/>
                    <a:pt x="1601" y="1840"/>
                  </a:cubicBezTo>
                  <a:cubicBezTo>
                    <a:pt x="1601" y="234"/>
                    <a:pt x="1601" y="234"/>
                    <a:pt x="1601" y="234"/>
                  </a:cubicBezTo>
                  <a:cubicBezTo>
                    <a:pt x="1601" y="91"/>
                    <a:pt x="1420" y="0"/>
                    <a:pt x="142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" name="Freeform 74"/>
            <p:cNvSpPr>
              <a:spLocks/>
            </p:cNvSpPr>
            <p:nvPr userDrawn="1"/>
          </p:nvSpPr>
          <p:spPr bwMode="gray">
            <a:xfrm>
              <a:off x="8140700" y="401638"/>
              <a:ext cx="169863" cy="206375"/>
            </a:xfrm>
            <a:custGeom>
              <a:avLst/>
              <a:gdLst/>
              <a:ahLst/>
              <a:cxnLst>
                <a:cxn ang="0">
                  <a:pos x="1427" y="0"/>
                </a:cxn>
                <a:cxn ang="0">
                  <a:pos x="2240" y="0"/>
                </a:cxn>
                <a:cxn ang="0">
                  <a:pos x="2068" y="237"/>
                </a:cxn>
                <a:cxn ang="0">
                  <a:pos x="2067" y="1838"/>
                </a:cxn>
                <a:cxn ang="0">
                  <a:pos x="1122" y="2700"/>
                </a:cxn>
                <a:cxn ang="0">
                  <a:pos x="166" y="1838"/>
                </a:cxn>
                <a:cxn ang="0">
                  <a:pos x="166" y="237"/>
                </a:cxn>
                <a:cxn ang="0">
                  <a:pos x="0" y="0"/>
                </a:cxn>
                <a:cxn ang="0">
                  <a:pos x="821" y="0"/>
                </a:cxn>
                <a:cxn ang="0">
                  <a:pos x="631" y="237"/>
                </a:cxn>
                <a:cxn ang="0">
                  <a:pos x="630" y="1838"/>
                </a:cxn>
                <a:cxn ang="0">
                  <a:pos x="1122" y="2413"/>
                </a:cxn>
                <a:cxn ang="0">
                  <a:pos x="1602" y="1838"/>
                </a:cxn>
                <a:cxn ang="0">
                  <a:pos x="1603" y="237"/>
                </a:cxn>
                <a:cxn ang="0">
                  <a:pos x="1427" y="0"/>
                </a:cxn>
              </a:cxnLst>
              <a:rect l="0" t="0" r="r" b="b"/>
              <a:pathLst>
                <a:path w="2240" h="2700">
                  <a:moveTo>
                    <a:pt x="1427" y="0"/>
                  </a:moveTo>
                  <a:cubicBezTo>
                    <a:pt x="2240" y="0"/>
                    <a:pt x="2240" y="0"/>
                    <a:pt x="2240" y="0"/>
                  </a:cubicBezTo>
                  <a:cubicBezTo>
                    <a:pt x="2240" y="0"/>
                    <a:pt x="2068" y="95"/>
                    <a:pt x="2068" y="237"/>
                  </a:cubicBezTo>
                  <a:cubicBezTo>
                    <a:pt x="2068" y="238"/>
                    <a:pt x="2067" y="1838"/>
                    <a:pt x="2067" y="1838"/>
                  </a:cubicBezTo>
                  <a:cubicBezTo>
                    <a:pt x="2067" y="2494"/>
                    <a:pt x="1501" y="2700"/>
                    <a:pt x="1122" y="2700"/>
                  </a:cubicBezTo>
                  <a:cubicBezTo>
                    <a:pt x="750" y="2700"/>
                    <a:pt x="166" y="2491"/>
                    <a:pt x="166" y="1838"/>
                  </a:cubicBezTo>
                  <a:cubicBezTo>
                    <a:pt x="166" y="237"/>
                    <a:pt x="166" y="237"/>
                    <a:pt x="166" y="237"/>
                  </a:cubicBezTo>
                  <a:cubicBezTo>
                    <a:pt x="166" y="94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1" y="94"/>
                    <a:pt x="631" y="237"/>
                  </a:cubicBezTo>
                  <a:cubicBezTo>
                    <a:pt x="630" y="1838"/>
                    <a:pt x="630" y="1838"/>
                    <a:pt x="630" y="1838"/>
                  </a:cubicBezTo>
                  <a:cubicBezTo>
                    <a:pt x="630" y="2178"/>
                    <a:pt x="856" y="2412"/>
                    <a:pt x="1122" y="2413"/>
                  </a:cubicBezTo>
                  <a:cubicBezTo>
                    <a:pt x="1388" y="2414"/>
                    <a:pt x="1602" y="2174"/>
                    <a:pt x="1602" y="1838"/>
                  </a:cubicBezTo>
                  <a:cubicBezTo>
                    <a:pt x="1603" y="237"/>
                    <a:pt x="1603" y="237"/>
                    <a:pt x="1603" y="237"/>
                  </a:cubicBezTo>
                  <a:cubicBezTo>
                    <a:pt x="1603" y="94"/>
                    <a:pt x="1427" y="0"/>
                    <a:pt x="1427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5" name="Freeform 75"/>
            <p:cNvSpPr>
              <a:spLocks/>
            </p:cNvSpPr>
            <p:nvPr userDrawn="1"/>
          </p:nvSpPr>
          <p:spPr bwMode="gray">
            <a:xfrm>
              <a:off x="8602663" y="396875"/>
              <a:ext cx="130175" cy="211138"/>
            </a:xfrm>
            <a:custGeom>
              <a:avLst/>
              <a:gdLst/>
              <a:ahLst/>
              <a:cxnLst>
                <a:cxn ang="0">
                  <a:pos x="1467" y="479"/>
                </a:cxn>
                <a:cxn ang="0">
                  <a:pos x="1019" y="276"/>
                </a:cxn>
                <a:cxn ang="0">
                  <a:pos x="504" y="677"/>
                </a:cxn>
                <a:cxn ang="0">
                  <a:pos x="995" y="1174"/>
                </a:cxn>
                <a:cxn ang="0">
                  <a:pos x="1705" y="1974"/>
                </a:cxn>
                <a:cxn ang="0">
                  <a:pos x="651" y="2755"/>
                </a:cxn>
                <a:cxn ang="0">
                  <a:pos x="155" y="2686"/>
                </a:cxn>
                <a:cxn ang="0">
                  <a:pos x="0" y="2177"/>
                </a:cxn>
                <a:cxn ang="0">
                  <a:pos x="658" y="2466"/>
                </a:cxn>
                <a:cxn ang="0">
                  <a:pos x="1252" y="2030"/>
                </a:cxn>
                <a:cxn ang="0">
                  <a:pos x="46" y="731"/>
                </a:cxn>
                <a:cxn ang="0">
                  <a:pos x="973" y="0"/>
                </a:cxn>
                <a:cxn ang="0">
                  <a:pos x="1467" y="69"/>
                </a:cxn>
                <a:cxn ang="0">
                  <a:pos x="1467" y="479"/>
                </a:cxn>
              </a:cxnLst>
              <a:rect l="0" t="0" r="r" b="b"/>
              <a:pathLst>
                <a:path w="1707" h="2755">
                  <a:moveTo>
                    <a:pt x="1467" y="479"/>
                  </a:moveTo>
                  <a:cubicBezTo>
                    <a:pt x="1467" y="479"/>
                    <a:pt x="1352" y="277"/>
                    <a:pt x="1019" y="276"/>
                  </a:cubicBezTo>
                  <a:cubicBezTo>
                    <a:pt x="686" y="275"/>
                    <a:pt x="505" y="450"/>
                    <a:pt x="504" y="677"/>
                  </a:cubicBezTo>
                  <a:cubicBezTo>
                    <a:pt x="503" y="934"/>
                    <a:pt x="696" y="1031"/>
                    <a:pt x="995" y="1174"/>
                  </a:cubicBezTo>
                  <a:cubicBezTo>
                    <a:pt x="1279" y="1311"/>
                    <a:pt x="1707" y="1499"/>
                    <a:pt x="1705" y="1974"/>
                  </a:cubicBezTo>
                  <a:cubicBezTo>
                    <a:pt x="1704" y="2399"/>
                    <a:pt x="1327" y="2755"/>
                    <a:pt x="651" y="2755"/>
                  </a:cubicBezTo>
                  <a:cubicBezTo>
                    <a:pt x="442" y="2754"/>
                    <a:pt x="155" y="2686"/>
                    <a:pt x="155" y="2686"/>
                  </a:cubicBezTo>
                  <a:cubicBezTo>
                    <a:pt x="0" y="2177"/>
                    <a:pt x="0" y="2177"/>
                    <a:pt x="0" y="2177"/>
                  </a:cubicBezTo>
                  <a:cubicBezTo>
                    <a:pt x="143" y="2316"/>
                    <a:pt x="397" y="2466"/>
                    <a:pt x="658" y="2466"/>
                  </a:cubicBezTo>
                  <a:cubicBezTo>
                    <a:pt x="929" y="2466"/>
                    <a:pt x="1252" y="2298"/>
                    <a:pt x="1252" y="2030"/>
                  </a:cubicBezTo>
                  <a:cubicBezTo>
                    <a:pt x="1252" y="1512"/>
                    <a:pt x="46" y="1598"/>
                    <a:pt x="46" y="731"/>
                  </a:cubicBezTo>
                  <a:cubicBezTo>
                    <a:pt x="46" y="433"/>
                    <a:pt x="254" y="0"/>
                    <a:pt x="973" y="0"/>
                  </a:cubicBezTo>
                  <a:cubicBezTo>
                    <a:pt x="1207" y="0"/>
                    <a:pt x="1467" y="69"/>
                    <a:pt x="1467" y="69"/>
                  </a:cubicBezTo>
                  <a:lnTo>
                    <a:pt x="1467" y="479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ermediate Cover +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9" descr="MiddleGray_24_L15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0" y="0"/>
            <a:ext cx="9144000" cy="3028950"/>
          </a:xfrm>
          <a:prstGeom prst="rect">
            <a:avLst/>
          </a:prstGeom>
          <a:noFill/>
        </p:spPr>
      </p:pic>
      <p:sp>
        <p:nvSpPr>
          <p:cNvPr id="16" name="Title 15"/>
          <p:cNvSpPr>
            <a:spLocks noGrp="1"/>
          </p:cNvSpPr>
          <p:nvPr>
            <p:ph type="title"/>
          </p:nvPr>
        </p:nvSpPr>
        <p:spPr bwMode="gray">
          <a:xfrm>
            <a:off x="250825" y="1563638"/>
            <a:ext cx="8642350" cy="864092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tabLst>
                <a:tab pos="3676650" algn="l"/>
              </a:tabLst>
              <a:defRPr kumimoji="1" lang="en-US" altLang="ja-JP" sz="3200" kern="1200" noProof="0" dirty="0" err="1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0"/>
          </p:nvPr>
        </p:nvSpPr>
        <p:spPr bwMode="gray">
          <a:xfrm>
            <a:off x="250825" y="2787779"/>
            <a:ext cx="8642350" cy="2015995"/>
          </a:xfrm>
        </p:spPr>
        <p:txBody>
          <a:bodyPr/>
          <a:lstStyle>
            <a:lvl1pPr marL="457200" indent="-457200">
              <a:spcAft>
                <a:spcPts val="300"/>
              </a:spcAft>
              <a:buClr>
                <a:schemeClr val="tx2"/>
              </a:buClr>
              <a:buFont typeface="+mj-lt"/>
              <a:buAutoNum type="arabicPeriod"/>
              <a:defRPr sz="2200"/>
            </a:lvl1pPr>
            <a:lvl2pPr marL="457200" indent="-457200">
              <a:spcBef>
                <a:spcPts val="516"/>
              </a:spcBef>
              <a:spcAft>
                <a:spcPts val="288"/>
              </a:spcAft>
              <a:buFont typeface="+mj-lt"/>
              <a:buAutoNum type="arabicPeriod"/>
              <a:defRPr sz="2400"/>
            </a:lvl2pPr>
            <a:lvl3pPr marL="457200" indent="-457200">
              <a:spcBef>
                <a:spcPts val="516"/>
              </a:spcBef>
              <a:spcAft>
                <a:spcPts val="288"/>
              </a:spcAft>
              <a:buFont typeface="+mj-lt"/>
              <a:buAutoNum type="arabicPeriod"/>
              <a:defRPr sz="2400"/>
            </a:lvl3pPr>
            <a:lvl4pPr marL="457200" indent="-457200">
              <a:spcBef>
                <a:spcPts val="516"/>
              </a:spcBef>
              <a:spcAft>
                <a:spcPts val="288"/>
              </a:spcAft>
              <a:buFont typeface="+mj-lt"/>
              <a:buAutoNum type="arabicPeriod"/>
              <a:defRPr sz="2400"/>
            </a:lvl4pPr>
            <a:lvl5pPr marL="457200" indent="-457200">
              <a:spcBef>
                <a:spcPts val="516"/>
              </a:spcBef>
              <a:spcAft>
                <a:spcPts val="288"/>
              </a:spcAft>
              <a:buFont typeface="+mj-lt"/>
              <a:buAutoNum type="arabicPeriod"/>
              <a:defRPr sz="2400"/>
            </a:lvl5pPr>
          </a:lstStyle>
          <a:p>
            <a:pPr lvl="0"/>
            <a:r>
              <a:rPr lang="de-DE" noProof="0" smtClean="0"/>
              <a:t>Textmasterformat bearbeiten</a:t>
            </a:r>
          </a:p>
        </p:txBody>
      </p:sp>
      <p:grpSp>
        <p:nvGrpSpPr>
          <p:cNvPr id="14" name="Group 13"/>
          <p:cNvGrpSpPr/>
          <p:nvPr/>
        </p:nvGrpSpPr>
        <p:grpSpPr>
          <a:xfrm>
            <a:off x="8010525" y="249238"/>
            <a:ext cx="892176" cy="434975"/>
            <a:chOff x="8010525" y="249238"/>
            <a:chExt cx="892176" cy="434975"/>
          </a:xfrm>
        </p:grpSpPr>
        <p:sp>
          <p:nvSpPr>
            <p:cNvPr id="15" name="Freeform 68"/>
            <p:cNvSpPr>
              <a:spLocks/>
            </p:cNvSpPr>
            <p:nvPr userDrawn="1"/>
          </p:nvSpPr>
          <p:spPr bwMode="gray">
            <a:xfrm>
              <a:off x="8305800" y="249238"/>
              <a:ext cx="179388" cy="139700"/>
            </a:xfrm>
            <a:custGeom>
              <a:avLst/>
              <a:gdLst/>
              <a:ahLst/>
              <a:cxnLst>
                <a:cxn ang="0">
                  <a:pos x="961" y="764"/>
                </a:cxn>
                <a:cxn ang="0">
                  <a:pos x="599" y="642"/>
                </a:cxn>
                <a:cxn ang="0">
                  <a:pos x="1" y="1235"/>
                </a:cxn>
                <a:cxn ang="0">
                  <a:pos x="599" y="1825"/>
                </a:cxn>
                <a:cxn ang="0">
                  <a:pos x="1053" y="1619"/>
                </a:cxn>
                <a:cxn ang="0">
                  <a:pos x="1053" y="1293"/>
                </a:cxn>
                <a:cxn ang="0">
                  <a:pos x="771" y="1568"/>
                </a:cxn>
                <a:cxn ang="0">
                  <a:pos x="599" y="1604"/>
                </a:cxn>
                <a:cxn ang="0">
                  <a:pos x="225" y="1235"/>
                </a:cxn>
                <a:cxn ang="0">
                  <a:pos x="599" y="863"/>
                </a:cxn>
                <a:cxn ang="0">
                  <a:pos x="861" y="972"/>
                </a:cxn>
                <a:cxn ang="0">
                  <a:pos x="1093" y="1239"/>
                </a:cxn>
                <a:cxn ang="0">
                  <a:pos x="1630" y="1473"/>
                </a:cxn>
                <a:cxn ang="0">
                  <a:pos x="2365" y="741"/>
                </a:cxn>
                <a:cxn ang="0">
                  <a:pos x="1630" y="0"/>
                </a:cxn>
                <a:cxn ang="0">
                  <a:pos x="1053" y="295"/>
                </a:cxn>
                <a:cxn ang="0">
                  <a:pos x="1053" y="735"/>
                </a:cxn>
                <a:cxn ang="0">
                  <a:pos x="1630" y="232"/>
                </a:cxn>
                <a:cxn ang="0">
                  <a:pos x="2134" y="741"/>
                </a:cxn>
                <a:cxn ang="0">
                  <a:pos x="1630" y="1245"/>
                </a:cxn>
                <a:cxn ang="0">
                  <a:pos x="1303" y="1125"/>
                </a:cxn>
                <a:cxn ang="0">
                  <a:pos x="961" y="764"/>
                </a:cxn>
              </a:cxnLst>
              <a:rect l="0" t="0" r="r" b="b"/>
              <a:pathLst>
                <a:path w="2365" h="1825">
                  <a:moveTo>
                    <a:pt x="961" y="764"/>
                  </a:moveTo>
                  <a:cubicBezTo>
                    <a:pt x="875" y="688"/>
                    <a:pt x="736" y="643"/>
                    <a:pt x="599" y="642"/>
                  </a:cubicBezTo>
                  <a:cubicBezTo>
                    <a:pt x="270" y="641"/>
                    <a:pt x="2" y="900"/>
                    <a:pt x="1" y="1235"/>
                  </a:cubicBezTo>
                  <a:cubicBezTo>
                    <a:pt x="0" y="1563"/>
                    <a:pt x="270" y="1824"/>
                    <a:pt x="599" y="1825"/>
                  </a:cubicBezTo>
                  <a:cubicBezTo>
                    <a:pt x="783" y="1825"/>
                    <a:pt x="943" y="1751"/>
                    <a:pt x="1053" y="1619"/>
                  </a:cubicBezTo>
                  <a:cubicBezTo>
                    <a:pt x="1053" y="1293"/>
                    <a:pt x="1053" y="1293"/>
                    <a:pt x="1053" y="1293"/>
                  </a:cubicBezTo>
                  <a:cubicBezTo>
                    <a:pt x="994" y="1394"/>
                    <a:pt x="877" y="1524"/>
                    <a:pt x="771" y="1568"/>
                  </a:cubicBezTo>
                  <a:cubicBezTo>
                    <a:pt x="717" y="1590"/>
                    <a:pt x="662" y="1604"/>
                    <a:pt x="599" y="1604"/>
                  </a:cubicBezTo>
                  <a:cubicBezTo>
                    <a:pt x="394" y="1604"/>
                    <a:pt x="225" y="1445"/>
                    <a:pt x="225" y="1235"/>
                  </a:cubicBezTo>
                  <a:cubicBezTo>
                    <a:pt x="225" y="1041"/>
                    <a:pt x="380" y="862"/>
                    <a:pt x="599" y="863"/>
                  </a:cubicBezTo>
                  <a:cubicBezTo>
                    <a:pt x="701" y="863"/>
                    <a:pt x="793" y="905"/>
                    <a:pt x="861" y="972"/>
                  </a:cubicBezTo>
                  <a:cubicBezTo>
                    <a:pt x="931" y="1040"/>
                    <a:pt x="1041" y="1183"/>
                    <a:pt x="1093" y="1239"/>
                  </a:cubicBezTo>
                  <a:cubicBezTo>
                    <a:pt x="1227" y="1383"/>
                    <a:pt x="1419" y="1473"/>
                    <a:pt x="1630" y="1473"/>
                  </a:cubicBezTo>
                  <a:cubicBezTo>
                    <a:pt x="2036" y="1474"/>
                    <a:pt x="2365" y="1146"/>
                    <a:pt x="2365" y="741"/>
                  </a:cubicBezTo>
                  <a:cubicBezTo>
                    <a:pt x="2365" y="336"/>
                    <a:pt x="2035" y="0"/>
                    <a:pt x="1630" y="0"/>
                  </a:cubicBezTo>
                  <a:cubicBezTo>
                    <a:pt x="1395" y="0"/>
                    <a:pt x="1187" y="122"/>
                    <a:pt x="1053" y="295"/>
                  </a:cubicBezTo>
                  <a:cubicBezTo>
                    <a:pt x="1053" y="735"/>
                    <a:pt x="1053" y="735"/>
                    <a:pt x="1053" y="735"/>
                  </a:cubicBezTo>
                  <a:cubicBezTo>
                    <a:pt x="1155" y="455"/>
                    <a:pt x="1340" y="232"/>
                    <a:pt x="1630" y="232"/>
                  </a:cubicBezTo>
                  <a:cubicBezTo>
                    <a:pt x="1909" y="232"/>
                    <a:pt x="2135" y="463"/>
                    <a:pt x="2134" y="741"/>
                  </a:cubicBezTo>
                  <a:cubicBezTo>
                    <a:pt x="2134" y="1020"/>
                    <a:pt x="1909" y="1246"/>
                    <a:pt x="1630" y="1245"/>
                  </a:cubicBezTo>
                  <a:cubicBezTo>
                    <a:pt x="1506" y="1244"/>
                    <a:pt x="1391" y="1199"/>
                    <a:pt x="1303" y="1125"/>
                  </a:cubicBezTo>
                  <a:cubicBezTo>
                    <a:pt x="1194" y="1040"/>
                    <a:pt x="1074" y="860"/>
                    <a:pt x="961" y="764"/>
                  </a:cubicBezTo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" name="Freeform 69"/>
            <p:cNvSpPr>
              <a:spLocks/>
            </p:cNvSpPr>
            <p:nvPr userDrawn="1"/>
          </p:nvSpPr>
          <p:spPr bwMode="gray">
            <a:xfrm>
              <a:off x="8010525" y="401638"/>
              <a:ext cx="123825" cy="201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4" y="0"/>
                </a:cxn>
                <a:cxn ang="0">
                  <a:pos x="1624" y="452"/>
                </a:cxn>
                <a:cxn ang="0">
                  <a:pos x="1365" y="273"/>
                </a:cxn>
                <a:cxn ang="0">
                  <a:pos x="613" y="273"/>
                </a:cxn>
                <a:cxn ang="0">
                  <a:pos x="613" y="1053"/>
                </a:cxn>
                <a:cxn ang="0">
                  <a:pos x="1428" y="1053"/>
                </a:cxn>
                <a:cxn ang="0">
                  <a:pos x="1428" y="1467"/>
                </a:cxn>
                <a:cxn ang="0">
                  <a:pos x="1205" y="1335"/>
                </a:cxn>
                <a:cxn ang="0">
                  <a:pos x="613" y="1335"/>
                </a:cxn>
                <a:cxn ang="0">
                  <a:pos x="613" y="2401"/>
                </a:cxn>
                <a:cxn ang="0">
                  <a:pos x="784" y="2651"/>
                </a:cxn>
                <a:cxn ang="0">
                  <a:pos x="11" y="2651"/>
                </a:cxn>
                <a:cxn ang="0">
                  <a:pos x="173" y="2401"/>
                </a:cxn>
                <a:cxn ang="0">
                  <a:pos x="173" y="278"/>
                </a:cxn>
                <a:cxn ang="0">
                  <a:pos x="0" y="0"/>
                </a:cxn>
              </a:cxnLst>
              <a:rect l="0" t="0" r="r" b="b"/>
              <a:pathLst>
                <a:path w="1624" h="2651">
                  <a:moveTo>
                    <a:pt x="0" y="0"/>
                  </a:moveTo>
                  <a:cubicBezTo>
                    <a:pt x="1624" y="0"/>
                    <a:pt x="1624" y="0"/>
                    <a:pt x="1624" y="0"/>
                  </a:cubicBezTo>
                  <a:cubicBezTo>
                    <a:pt x="1624" y="452"/>
                    <a:pt x="1624" y="452"/>
                    <a:pt x="1624" y="452"/>
                  </a:cubicBezTo>
                  <a:cubicBezTo>
                    <a:pt x="1624" y="452"/>
                    <a:pt x="1540" y="274"/>
                    <a:pt x="1365" y="273"/>
                  </a:cubicBezTo>
                  <a:cubicBezTo>
                    <a:pt x="613" y="273"/>
                    <a:pt x="613" y="273"/>
                    <a:pt x="613" y="273"/>
                  </a:cubicBezTo>
                  <a:cubicBezTo>
                    <a:pt x="613" y="1053"/>
                    <a:pt x="613" y="1053"/>
                    <a:pt x="613" y="1053"/>
                  </a:cubicBezTo>
                  <a:cubicBezTo>
                    <a:pt x="1428" y="1053"/>
                    <a:pt x="1428" y="1053"/>
                    <a:pt x="1428" y="1053"/>
                  </a:cubicBezTo>
                  <a:cubicBezTo>
                    <a:pt x="1428" y="1467"/>
                    <a:pt x="1428" y="1467"/>
                    <a:pt x="1428" y="1467"/>
                  </a:cubicBezTo>
                  <a:cubicBezTo>
                    <a:pt x="1428" y="1467"/>
                    <a:pt x="1402" y="1335"/>
                    <a:pt x="1205" y="1335"/>
                  </a:cubicBezTo>
                  <a:cubicBezTo>
                    <a:pt x="613" y="1335"/>
                    <a:pt x="613" y="1335"/>
                    <a:pt x="613" y="1335"/>
                  </a:cubicBezTo>
                  <a:cubicBezTo>
                    <a:pt x="613" y="2401"/>
                    <a:pt x="613" y="2401"/>
                    <a:pt x="613" y="2401"/>
                  </a:cubicBezTo>
                  <a:cubicBezTo>
                    <a:pt x="613" y="2558"/>
                    <a:pt x="784" y="2651"/>
                    <a:pt x="784" y="2651"/>
                  </a:cubicBezTo>
                  <a:cubicBezTo>
                    <a:pt x="11" y="2651"/>
                    <a:pt x="11" y="2651"/>
                    <a:pt x="11" y="2651"/>
                  </a:cubicBezTo>
                  <a:cubicBezTo>
                    <a:pt x="11" y="2651"/>
                    <a:pt x="173" y="2569"/>
                    <a:pt x="173" y="2401"/>
                  </a:cubicBezTo>
                  <a:cubicBezTo>
                    <a:pt x="173" y="278"/>
                    <a:pt x="173" y="278"/>
                    <a:pt x="173" y="278"/>
                  </a:cubicBezTo>
                  <a:cubicBezTo>
                    <a:pt x="173" y="9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3" name="Freeform 70"/>
            <p:cNvSpPr>
              <a:spLocks/>
            </p:cNvSpPr>
            <p:nvPr userDrawn="1"/>
          </p:nvSpPr>
          <p:spPr bwMode="gray">
            <a:xfrm>
              <a:off x="8304213" y="401638"/>
              <a:ext cx="80963" cy="282575"/>
            </a:xfrm>
            <a:custGeom>
              <a:avLst/>
              <a:gdLst/>
              <a:ahLst/>
              <a:cxnLst>
                <a:cxn ang="0">
                  <a:pos x="246" y="0"/>
                </a:cxn>
                <a:cxn ang="0">
                  <a:pos x="1072" y="0"/>
                </a:cxn>
                <a:cxn ang="0">
                  <a:pos x="887" y="230"/>
                </a:cxn>
                <a:cxn ang="0">
                  <a:pos x="887" y="2717"/>
                </a:cxn>
                <a:cxn ang="0">
                  <a:pos x="0" y="3693"/>
                </a:cxn>
                <a:cxn ang="0">
                  <a:pos x="423" y="2717"/>
                </a:cxn>
                <a:cxn ang="0">
                  <a:pos x="423" y="230"/>
                </a:cxn>
                <a:cxn ang="0">
                  <a:pos x="246" y="0"/>
                </a:cxn>
              </a:cxnLst>
              <a:rect l="0" t="0" r="r" b="b"/>
              <a:pathLst>
                <a:path w="1072" h="3696">
                  <a:moveTo>
                    <a:pt x="246" y="0"/>
                  </a:moveTo>
                  <a:cubicBezTo>
                    <a:pt x="1072" y="0"/>
                    <a:pt x="1072" y="0"/>
                    <a:pt x="1072" y="0"/>
                  </a:cubicBezTo>
                  <a:cubicBezTo>
                    <a:pt x="1072" y="0"/>
                    <a:pt x="887" y="87"/>
                    <a:pt x="887" y="230"/>
                  </a:cubicBezTo>
                  <a:cubicBezTo>
                    <a:pt x="887" y="2717"/>
                    <a:pt x="887" y="2717"/>
                    <a:pt x="887" y="2717"/>
                  </a:cubicBezTo>
                  <a:cubicBezTo>
                    <a:pt x="887" y="3558"/>
                    <a:pt x="44" y="3696"/>
                    <a:pt x="0" y="3693"/>
                  </a:cubicBezTo>
                  <a:cubicBezTo>
                    <a:pt x="72" y="3647"/>
                    <a:pt x="422" y="3349"/>
                    <a:pt x="423" y="2717"/>
                  </a:cubicBezTo>
                  <a:cubicBezTo>
                    <a:pt x="423" y="230"/>
                    <a:pt x="423" y="230"/>
                    <a:pt x="423" y="230"/>
                  </a:cubicBezTo>
                  <a:cubicBezTo>
                    <a:pt x="424" y="96"/>
                    <a:pt x="246" y="0"/>
                    <a:pt x="246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" name="Freeform 71"/>
            <p:cNvSpPr>
              <a:spLocks/>
            </p:cNvSpPr>
            <p:nvPr userDrawn="1"/>
          </p:nvSpPr>
          <p:spPr bwMode="gray">
            <a:xfrm>
              <a:off x="8394700" y="401638"/>
              <a:ext cx="63500" cy="201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28" y="0"/>
                </a:cxn>
                <a:cxn ang="0">
                  <a:pos x="645" y="235"/>
                </a:cxn>
                <a:cxn ang="0">
                  <a:pos x="645" y="2401"/>
                </a:cxn>
                <a:cxn ang="0">
                  <a:pos x="828" y="2653"/>
                </a:cxn>
                <a:cxn ang="0">
                  <a:pos x="0" y="2653"/>
                </a:cxn>
                <a:cxn ang="0">
                  <a:pos x="184" y="2401"/>
                </a:cxn>
                <a:cxn ang="0">
                  <a:pos x="184" y="235"/>
                </a:cxn>
                <a:cxn ang="0">
                  <a:pos x="0" y="0"/>
                </a:cxn>
              </a:cxnLst>
              <a:rect l="0" t="0" r="r" b="b"/>
              <a:pathLst>
                <a:path w="828" h="2653">
                  <a:moveTo>
                    <a:pt x="0" y="0"/>
                  </a:moveTo>
                  <a:cubicBezTo>
                    <a:pt x="828" y="0"/>
                    <a:pt x="828" y="0"/>
                    <a:pt x="828" y="0"/>
                  </a:cubicBezTo>
                  <a:cubicBezTo>
                    <a:pt x="828" y="0"/>
                    <a:pt x="645" y="89"/>
                    <a:pt x="645" y="235"/>
                  </a:cubicBezTo>
                  <a:cubicBezTo>
                    <a:pt x="645" y="2401"/>
                    <a:pt x="645" y="2401"/>
                    <a:pt x="645" y="2401"/>
                  </a:cubicBezTo>
                  <a:cubicBezTo>
                    <a:pt x="645" y="2556"/>
                    <a:pt x="828" y="2653"/>
                    <a:pt x="828" y="2653"/>
                  </a:cubicBezTo>
                  <a:cubicBezTo>
                    <a:pt x="0" y="2653"/>
                    <a:pt x="0" y="2653"/>
                    <a:pt x="0" y="2653"/>
                  </a:cubicBezTo>
                  <a:cubicBezTo>
                    <a:pt x="0" y="2653"/>
                    <a:pt x="184" y="2557"/>
                    <a:pt x="184" y="2401"/>
                  </a:cubicBezTo>
                  <a:cubicBezTo>
                    <a:pt x="184" y="235"/>
                    <a:pt x="184" y="235"/>
                    <a:pt x="184" y="235"/>
                  </a:cubicBezTo>
                  <a:cubicBezTo>
                    <a:pt x="184" y="8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5" name="Freeform 72"/>
            <p:cNvSpPr>
              <a:spLocks/>
            </p:cNvSpPr>
            <p:nvPr userDrawn="1"/>
          </p:nvSpPr>
          <p:spPr bwMode="gray">
            <a:xfrm>
              <a:off x="8458200" y="401638"/>
              <a:ext cx="150813" cy="201613"/>
            </a:xfrm>
            <a:custGeom>
              <a:avLst/>
              <a:gdLst/>
              <a:ahLst/>
              <a:cxnLst>
                <a:cxn ang="0">
                  <a:pos x="161" y="0"/>
                </a:cxn>
                <a:cxn ang="0">
                  <a:pos x="1984" y="0"/>
                </a:cxn>
                <a:cxn ang="0">
                  <a:pos x="1829" y="482"/>
                </a:cxn>
                <a:cxn ang="0">
                  <a:pos x="1607" y="279"/>
                </a:cxn>
                <a:cxn ang="0">
                  <a:pos x="1229" y="279"/>
                </a:cxn>
                <a:cxn ang="0">
                  <a:pos x="1229" y="2401"/>
                </a:cxn>
                <a:cxn ang="0">
                  <a:pos x="1407" y="2651"/>
                </a:cxn>
                <a:cxn ang="0">
                  <a:pos x="595" y="2651"/>
                </a:cxn>
                <a:cxn ang="0">
                  <a:pos x="771" y="2401"/>
                </a:cxn>
                <a:cxn ang="0">
                  <a:pos x="771" y="279"/>
                </a:cxn>
                <a:cxn ang="0">
                  <a:pos x="315" y="279"/>
                </a:cxn>
                <a:cxn ang="0">
                  <a:pos x="0" y="522"/>
                </a:cxn>
                <a:cxn ang="0">
                  <a:pos x="161" y="0"/>
                </a:cxn>
              </a:cxnLst>
              <a:rect l="0" t="0" r="r" b="b"/>
              <a:pathLst>
                <a:path w="1984" h="2651">
                  <a:moveTo>
                    <a:pt x="161" y="0"/>
                  </a:moveTo>
                  <a:cubicBezTo>
                    <a:pt x="1984" y="0"/>
                    <a:pt x="1984" y="0"/>
                    <a:pt x="1984" y="0"/>
                  </a:cubicBezTo>
                  <a:cubicBezTo>
                    <a:pt x="1829" y="482"/>
                    <a:pt x="1829" y="482"/>
                    <a:pt x="1829" y="482"/>
                  </a:cubicBezTo>
                  <a:cubicBezTo>
                    <a:pt x="1829" y="482"/>
                    <a:pt x="1783" y="279"/>
                    <a:pt x="1607" y="279"/>
                  </a:cubicBezTo>
                  <a:cubicBezTo>
                    <a:pt x="1229" y="279"/>
                    <a:pt x="1229" y="279"/>
                    <a:pt x="1229" y="279"/>
                  </a:cubicBezTo>
                  <a:cubicBezTo>
                    <a:pt x="1229" y="2401"/>
                    <a:pt x="1229" y="2401"/>
                    <a:pt x="1229" y="2401"/>
                  </a:cubicBezTo>
                  <a:cubicBezTo>
                    <a:pt x="1229" y="2535"/>
                    <a:pt x="1407" y="2651"/>
                    <a:pt x="1407" y="2651"/>
                  </a:cubicBezTo>
                  <a:cubicBezTo>
                    <a:pt x="595" y="2651"/>
                    <a:pt x="595" y="2651"/>
                    <a:pt x="595" y="2651"/>
                  </a:cubicBezTo>
                  <a:cubicBezTo>
                    <a:pt x="595" y="2651"/>
                    <a:pt x="771" y="2547"/>
                    <a:pt x="771" y="2401"/>
                  </a:cubicBezTo>
                  <a:cubicBezTo>
                    <a:pt x="771" y="279"/>
                    <a:pt x="771" y="279"/>
                    <a:pt x="771" y="279"/>
                  </a:cubicBezTo>
                  <a:cubicBezTo>
                    <a:pt x="315" y="279"/>
                    <a:pt x="315" y="279"/>
                    <a:pt x="315" y="279"/>
                  </a:cubicBezTo>
                  <a:cubicBezTo>
                    <a:pt x="185" y="280"/>
                    <a:pt x="0" y="522"/>
                    <a:pt x="0" y="522"/>
                  </a:cubicBezTo>
                  <a:lnTo>
                    <a:pt x="161" y="0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" name="Freeform 73"/>
            <p:cNvSpPr>
              <a:spLocks/>
            </p:cNvSpPr>
            <p:nvPr userDrawn="1"/>
          </p:nvSpPr>
          <p:spPr bwMode="gray">
            <a:xfrm>
              <a:off x="8732838" y="401638"/>
              <a:ext cx="169863" cy="204788"/>
            </a:xfrm>
            <a:custGeom>
              <a:avLst/>
              <a:gdLst/>
              <a:ahLst/>
              <a:cxnLst>
                <a:cxn ang="0">
                  <a:pos x="1420" y="0"/>
                </a:cxn>
                <a:cxn ang="0">
                  <a:pos x="2219" y="0"/>
                </a:cxn>
                <a:cxn ang="0">
                  <a:pos x="2048" y="234"/>
                </a:cxn>
                <a:cxn ang="0">
                  <a:pos x="2048" y="1840"/>
                </a:cxn>
                <a:cxn ang="0">
                  <a:pos x="1131" y="2693"/>
                </a:cxn>
                <a:cxn ang="0">
                  <a:pos x="176" y="1840"/>
                </a:cxn>
                <a:cxn ang="0">
                  <a:pos x="176" y="234"/>
                </a:cxn>
                <a:cxn ang="0">
                  <a:pos x="0" y="0"/>
                </a:cxn>
                <a:cxn ang="0">
                  <a:pos x="821" y="0"/>
                </a:cxn>
                <a:cxn ang="0">
                  <a:pos x="638" y="234"/>
                </a:cxn>
                <a:cxn ang="0">
                  <a:pos x="638" y="1840"/>
                </a:cxn>
                <a:cxn ang="0">
                  <a:pos x="1131" y="2406"/>
                </a:cxn>
                <a:cxn ang="0">
                  <a:pos x="1601" y="1840"/>
                </a:cxn>
                <a:cxn ang="0">
                  <a:pos x="1601" y="234"/>
                </a:cxn>
                <a:cxn ang="0">
                  <a:pos x="1420" y="0"/>
                </a:cxn>
              </a:cxnLst>
              <a:rect l="0" t="0" r="r" b="b"/>
              <a:pathLst>
                <a:path w="2219" h="2693">
                  <a:moveTo>
                    <a:pt x="1420" y="0"/>
                  </a:moveTo>
                  <a:cubicBezTo>
                    <a:pt x="2219" y="0"/>
                    <a:pt x="2219" y="0"/>
                    <a:pt x="2219" y="0"/>
                  </a:cubicBezTo>
                  <a:cubicBezTo>
                    <a:pt x="2219" y="0"/>
                    <a:pt x="2048" y="91"/>
                    <a:pt x="2048" y="234"/>
                  </a:cubicBezTo>
                  <a:cubicBezTo>
                    <a:pt x="2048" y="1840"/>
                    <a:pt x="2048" y="1840"/>
                    <a:pt x="2048" y="1840"/>
                  </a:cubicBezTo>
                  <a:cubicBezTo>
                    <a:pt x="2047" y="2492"/>
                    <a:pt x="1506" y="2693"/>
                    <a:pt x="1131" y="2693"/>
                  </a:cubicBezTo>
                  <a:cubicBezTo>
                    <a:pt x="759" y="2693"/>
                    <a:pt x="175" y="2490"/>
                    <a:pt x="176" y="1840"/>
                  </a:cubicBezTo>
                  <a:cubicBezTo>
                    <a:pt x="176" y="234"/>
                    <a:pt x="176" y="234"/>
                    <a:pt x="176" y="234"/>
                  </a:cubicBezTo>
                  <a:cubicBezTo>
                    <a:pt x="176" y="91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8" y="88"/>
                    <a:pt x="638" y="234"/>
                  </a:cubicBezTo>
                  <a:cubicBezTo>
                    <a:pt x="638" y="1840"/>
                    <a:pt x="638" y="1840"/>
                    <a:pt x="638" y="1840"/>
                  </a:cubicBezTo>
                  <a:cubicBezTo>
                    <a:pt x="638" y="2182"/>
                    <a:pt x="865" y="2406"/>
                    <a:pt x="1131" y="2406"/>
                  </a:cubicBezTo>
                  <a:cubicBezTo>
                    <a:pt x="1397" y="2406"/>
                    <a:pt x="1600" y="2173"/>
                    <a:pt x="1601" y="1840"/>
                  </a:cubicBezTo>
                  <a:cubicBezTo>
                    <a:pt x="1601" y="234"/>
                    <a:pt x="1601" y="234"/>
                    <a:pt x="1601" y="234"/>
                  </a:cubicBezTo>
                  <a:cubicBezTo>
                    <a:pt x="1601" y="91"/>
                    <a:pt x="1420" y="0"/>
                    <a:pt x="142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" name="Freeform 74"/>
            <p:cNvSpPr>
              <a:spLocks/>
            </p:cNvSpPr>
            <p:nvPr userDrawn="1"/>
          </p:nvSpPr>
          <p:spPr bwMode="gray">
            <a:xfrm>
              <a:off x="8140700" y="401638"/>
              <a:ext cx="169863" cy="206375"/>
            </a:xfrm>
            <a:custGeom>
              <a:avLst/>
              <a:gdLst/>
              <a:ahLst/>
              <a:cxnLst>
                <a:cxn ang="0">
                  <a:pos x="1427" y="0"/>
                </a:cxn>
                <a:cxn ang="0">
                  <a:pos x="2240" y="0"/>
                </a:cxn>
                <a:cxn ang="0">
                  <a:pos x="2068" y="237"/>
                </a:cxn>
                <a:cxn ang="0">
                  <a:pos x="2067" y="1838"/>
                </a:cxn>
                <a:cxn ang="0">
                  <a:pos x="1122" y="2700"/>
                </a:cxn>
                <a:cxn ang="0">
                  <a:pos x="166" y="1838"/>
                </a:cxn>
                <a:cxn ang="0">
                  <a:pos x="166" y="237"/>
                </a:cxn>
                <a:cxn ang="0">
                  <a:pos x="0" y="0"/>
                </a:cxn>
                <a:cxn ang="0">
                  <a:pos x="821" y="0"/>
                </a:cxn>
                <a:cxn ang="0">
                  <a:pos x="631" y="237"/>
                </a:cxn>
                <a:cxn ang="0">
                  <a:pos x="630" y="1838"/>
                </a:cxn>
                <a:cxn ang="0">
                  <a:pos x="1122" y="2413"/>
                </a:cxn>
                <a:cxn ang="0">
                  <a:pos x="1602" y="1838"/>
                </a:cxn>
                <a:cxn ang="0">
                  <a:pos x="1603" y="237"/>
                </a:cxn>
                <a:cxn ang="0">
                  <a:pos x="1427" y="0"/>
                </a:cxn>
              </a:cxnLst>
              <a:rect l="0" t="0" r="r" b="b"/>
              <a:pathLst>
                <a:path w="2240" h="2700">
                  <a:moveTo>
                    <a:pt x="1427" y="0"/>
                  </a:moveTo>
                  <a:cubicBezTo>
                    <a:pt x="2240" y="0"/>
                    <a:pt x="2240" y="0"/>
                    <a:pt x="2240" y="0"/>
                  </a:cubicBezTo>
                  <a:cubicBezTo>
                    <a:pt x="2240" y="0"/>
                    <a:pt x="2068" y="95"/>
                    <a:pt x="2068" y="237"/>
                  </a:cubicBezTo>
                  <a:cubicBezTo>
                    <a:pt x="2068" y="238"/>
                    <a:pt x="2067" y="1838"/>
                    <a:pt x="2067" y="1838"/>
                  </a:cubicBezTo>
                  <a:cubicBezTo>
                    <a:pt x="2067" y="2494"/>
                    <a:pt x="1501" y="2700"/>
                    <a:pt x="1122" y="2700"/>
                  </a:cubicBezTo>
                  <a:cubicBezTo>
                    <a:pt x="750" y="2700"/>
                    <a:pt x="166" y="2491"/>
                    <a:pt x="166" y="1838"/>
                  </a:cubicBezTo>
                  <a:cubicBezTo>
                    <a:pt x="166" y="237"/>
                    <a:pt x="166" y="237"/>
                    <a:pt x="166" y="237"/>
                  </a:cubicBezTo>
                  <a:cubicBezTo>
                    <a:pt x="166" y="94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1" y="94"/>
                    <a:pt x="631" y="237"/>
                  </a:cubicBezTo>
                  <a:cubicBezTo>
                    <a:pt x="630" y="1838"/>
                    <a:pt x="630" y="1838"/>
                    <a:pt x="630" y="1838"/>
                  </a:cubicBezTo>
                  <a:cubicBezTo>
                    <a:pt x="630" y="2178"/>
                    <a:pt x="856" y="2412"/>
                    <a:pt x="1122" y="2413"/>
                  </a:cubicBezTo>
                  <a:cubicBezTo>
                    <a:pt x="1388" y="2414"/>
                    <a:pt x="1602" y="2174"/>
                    <a:pt x="1602" y="1838"/>
                  </a:cubicBezTo>
                  <a:cubicBezTo>
                    <a:pt x="1603" y="237"/>
                    <a:pt x="1603" y="237"/>
                    <a:pt x="1603" y="237"/>
                  </a:cubicBezTo>
                  <a:cubicBezTo>
                    <a:pt x="1603" y="94"/>
                    <a:pt x="1427" y="0"/>
                    <a:pt x="1427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" name="Freeform 75"/>
            <p:cNvSpPr>
              <a:spLocks/>
            </p:cNvSpPr>
            <p:nvPr userDrawn="1"/>
          </p:nvSpPr>
          <p:spPr bwMode="gray">
            <a:xfrm>
              <a:off x="8602663" y="396875"/>
              <a:ext cx="130175" cy="211138"/>
            </a:xfrm>
            <a:custGeom>
              <a:avLst/>
              <a:gdLst/>
              <a:ahLst/>
              <a:cxnLst>
                <a:cxn ang="0">
                  <a:pos x="1467" y="479"/>
                </a:cxn>
                <a:cxn ang="0">
                  <a:pos x="1019" y="276"/>
                </a:cxn>
                <a:cxn ang="0">
                  <a:pos x="504" y="677"/>
                </a:cxn>
                <a:cxn ang="0">
                  <a:pos x="995" y="1174"/>
                </a:cxn>
                <a:cxn ang="0">
                  <a:pos x="1705" y="1974"/>
                </a:cxn>
                <a:cxn ang="0">
                  <a:pos x="651" y="2755"/>
                </a:cxn>
                <a:cxn ang="0">
                  <a:pos x="155" y="2686"/>
                </a:cxn>
                <a:cxn ang="0">
                  <a:pos x="0" y="2177"/>
                </a:cxn>
                <a:cxn ang="0">
                  <a:pos x="658" y="2466"/>
                </a:cxn>
                <a:cxn ang="0">
                  <a:pos x="1252" y="2030"/>
                </a:cxn>
                <a:cxn ang="0">
                  <a:pos x="46" y="731"/>
                </a:cxn>
                <a:cxn ang="0">
                  <a:pos x="973" y="0"/>
                </a:cxn>
                <a:cxn ang="0">
                  <a:pos x="1467" y="69"/>
                </a:cxn>
                <a:cxn ang="0">
                  <a:pos x="1467" y="479"/>
                </a:cxn>
              </a:cxnLst>
              <a:rect l="0" t="0" r="r" b="b"/>
              <a:pathLst>
                <a:path w="1707" h="2755">
                  <a:moveTo>
                    <a:pt x="1467" y="479"/>
                  </a:moveTo>
                  <a:cubicBezTo>
                    <a:pt x="1467" y="479"/>
                    <a:pt x="1352" y="277"/>
                    <a:pt x="1019" y="276"/>
                  </a:cubicBezTo>
                  <a:cubicBezTo>
                    <a:pt x="686" y="275"/>
                    <a:pt x="505" y="450"/>
                    <a:pt x="504" y="677"/>
                  </a:cubicBezTo>
                  <a:cubicBezTo>
                    <a:pt x="503" y="934"/>
                    <a:pt x="696" y="1031"/>
                    <a:pt x="995" y="1174"/>
                  </a:cubicBezTo>
                  <a:cubicBezTo>
                    <a:pt x="1279" y="1311"/>
                    <a:pt x="1707" y="1499"/>
                    <a:pt x="1705" y="1974"/>
                  </a:cubicBezTo>
                  <a:cubicBezTo>
                    <a:pt x="1704" y="2399"/>
                    <a:pt x="1327" y="2755"/>
                    <a:pt x="651" y="2755"/>
                  </a:cubicBezTo>
                  <a:cubicBezTo>
                    <a:pt x="442" y="2754"/>
                    <a:pt x="155" y="2686"/>
                    <a:pt x="155" y="2686"/>
                  </a:cubicBezTo>
                  <a:cubicBezTo>
                    <a:pt x="0" y="2177"/>
                    <a:pt x="0" y="2177"/>
                    <a:pt x="0" y="2177"/>
                  </a:cubicBezTo>
                  <a:cubicBezTo>
                    <a:pt x="143" y="2316"/>
                    <a:pt x="397" y="2466"/>
                    <a:pt x="658" y="2466"/>
                  </a:cubicBezTo>
                  <a:cubicBezTo>
                    <a:pt x="929" y="2466"/>
                    <a:pt x="1252" y="2298"/>
                    <a:pt x="1252" y="2030"/>
                  </a:cubicBezTo>
                  <a:cubicBezTo>
                    <a:pt x="1252" y="1512"/>
                    <a:pt x="46" y="1598"/>
                    <a:pt x="46" y="731"/>
                  </a:cubicBezTo>
                  <a:cubicBezTo>
                    <a:pt x="46" y="433"/>
                    <a:pt x="254" y="0"/>
                    <a:pt x="973" y="0"/>
                  </a:cubicBezTo>
                  <a:cubicBezTo>
                    <a:pt x="1207" y="0"/>
                    <a:pt x="1467" y="69"/>
                    <a:pt x="1467" y="69"/>
                  </a:cubicBezTo>
                  <a:lnTo>
                    <a:pt x="1467" y="479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pic>
        <p:nvPicPr>
          <p:cNvPr id="17" name="Picture 9" descr="MiddleGray_24_L150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0" y="0"/>
            <a:ext cx="9144000" cy="3028950"/>
          </a:xfrm>
          <a:prstGeom prst="rect">
            <a:avLst/>
          </a:prstGeom>
          <a:noFill/>
        </p:spPr>
      </p:pic>
      <p:pic>
        <p:nvPicPr>
          <p:cNvPr id="19" name="Picture 3" descr="Fujitsu_Logo"/>
          <p:cNvPicPr>
            <a:picLocks noChangeAspect="1" noChangeArrowheads="1"/>
          </p:cNvPicPr>
          <p:nvPr userDrawn="1"/>
        </p:nvPicPr>
        <p:blipFill>
          <a:blip r:embed="rId3" cstate="print"/>
          <a:srcRect b="20259"/>
          <a:stretch>
            <a:fillRect/>
          </a:stretch>
        </p:blipFill>
        <p:spPr bwMode="auto">
          <a:xfrm>
            <a:off x="7664790" y="243040"/>
            <a:ext cx="1252195" cy="499082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 bwMode="gray">
          <a:xfrm>
            <a:off x="250825" y="987425"/>
            <a:ext cx="8642350" cy="3816350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/>
          </p:nvPr>
        </p:nvSpPr>
        <p:spPr bwMode="gray">
          <a:xfrm>
            <a:off x="250824" y="987424"/>
            <a:ext cx="4177159" cy="3816351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6"/>
          </p:nvPr>
        </p:nvSpPr>
        <p:spPr bwMode="gray">
          <a:xfrm>
            <a:off x="4644009" y="987425"/>
            <a:ext cx="4249166" cy="3816350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8"/>
          </p:nvPr>
        </p:nvSpPr>
        <p:spPr bwMode="gray">
          <a:xfrm>
            <a:off x="250824" y="987026"/>
            <a:ext cx="2736999" cy="3816349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9"/>
          </p:nvPr>
        </p:nvSpPr>
        <p:spPr bwMode="gray">
          <a:xfrm>
            <a:off x="3203848" y="987067"/>
            <a:ext cx="2808312" cy="3816713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20"/>
          </p:nvPr>
        </p:nvSpPr>
        <p:spPr bwMode="gray">
          <a:xfrm>
            <a:off x="6228185" y="987425"/>
            <a:ext cx="2664990" cy="3816349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 bwMode="gray">
          <a:xfrm>
            <a:off x="250824" y="1058863"/>
            <a:ext cx="8642351" cy="3744912"/>
          </a:xfrm>
          <a:prstGeom prst="round1Rect">
            <a:avLst>
              <a:gd name="adj" fmla="val 10174"/>
            </a:avLst>
          </a:prstGeom>
          <a:noFill/>
          <a:ln>
            <a:noFill/>
          </a:ln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 bwMode="gray">
          <a:xfrm>
            <a:off x="4716016" y="1058863"/>
            <a:ext cx="4177159" cy="3744912"/>
          </a:xfrm>
          <a:prstGeom prst="round1Rect">
            <a:avLst>
              <a:gd name="adj" fmla="val 10174"/>
            </a:avLst>
          </a:prstGeom>
          <a:noFill/>
          <a:ln>
            <a:noFill/>
          </a:ln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 dirty="0"/>
          </a:p>
        </p:txBody>
      </p:sp>
      <p:sp>
        <p:nvSpPr>
          <p:cNvPr id="10" name="Picture Placeholder 10"/>
          <p:cNvSpPr>
            <a:spLocks noGrp="1"/>
          </p:cNvSpPr>
          <p:nvPr>
            <p:ph type="pic" sz="quarter" idx="16"/>
            <p:custDataLst>
              <p:tags r:id="rId2"/>
            </p:custDataLst>
          </p:nvPr>
        </p:nvSpPr>
        <p:spPr bwMode="gray">
          <a:xfrm>
            <a:off x="250824" y="1058863"/>
            <a:ext cx="4177159" cy="3744912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losing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5"/>
          <p:cNvSpPr>
            <a:spLocks noChangeArrowheads="1"/>
          </p:cNvSpPr>
          <p:nvPr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noProof="0" dirty="0"/>
          </a:p>
        </p:txBody>
      </p:sp>
      <p:pic>
        <p:nvPicPr>
          <p:cNvPr id="41" name="Picture 2" descr="Fujitsu_Logo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455510" y="1309687"/>
            <a:ext cx="4202009" cy="2100264"/>
          </a:xfrm>
          <a:prstGeom prst="rect">
            <a:avLst/>
          </a:prstGeom>
          <a:noFill/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left –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4" name="Bildplatzhalter 12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 bwMode="gray">
          <a:xfrm>
            <a:off x="4716016" y="1058863"/>
            <a:ext cx="4177159" cy="3744912"/>
          </a:xfrm>
          <a:prstGeom prst="round1Rect">
            <a:avLst>
              <a:gd name="adj" fmla="val 10174"/>
            </a:avLst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6"/>
          </p:nvPr>
        </p:nvSpPr>
        <p:spPr bwMode="gray">
          <a:xfrm>
            <a:off x="250824" y="987425"/>
            <a:ext cx="4177159" cy="3816350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left –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4" name="Bildplatzhalter 12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 bwMode="gray">
          <a:xfrm>
            <a:off x="250824" y="1058863"/>
            <a:ext cx="4177159" cy="3744912"/>
          </a:xfrm>
          <a:prstGeom prst="rect">
            <a:avLst/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6"/>
          </p:nvPr>
        </p:nvSpPr>
        <p:spPr bwMode="gray">
          <a:xfrm>
            <a:off x="4644009" y="987425"/>
            <a:ext cx="4249166" cy="3816350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left 2/3 – Picture right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6228184" y="1058863"/>
            <a:ext cx="2664991" cy="3744912"/>
          </a:xfrm>
          <a:prstGeom prst="round1Rect">
            <a:avLst>
              <a:gd name="adj" fmla="val 14296"/>
            </a:avLst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7"/>
          </p:nvPr>
        </p:nvSpPr>
        <p:spPr bwMode="gray">
          <a:xfrm>
            <a:off x="250824" y="987425"/>
            <a:ext cx="5761335" cy="3816350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left 1/3 – Text righ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250825" y="1058863"/>
            <a:ext cx="2664992" cy="3744912"/>
          </a:xfrm>
          <a:prstGeom prst="rect">
            <a:avLst/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7"/>
          </p:nvPr>
        </p:nvSpPr>
        <p:spPr bwMode="gray">
          <a:xfrm>
            <a:off x="3131840" y="987425"/>
            <a:ext cx="5761335" cy="3816349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left 1/3 – Picture righ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3132139" y="1058862"/>
            <a:ext cx="5761036" cy="3744913"/>
          </a:xfrm>
          <a:prstGeom prst="round1Rect">
            <a:avLst>
              <a:gd name="adj" fmla="val 10174"/>
            </a:avLst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250825" y="987425"/>
            <a:ext cx="2665414" cy="3816349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left 2/3 – Text right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250825" y="1058862"/>
            <a:ext cx="5761038" cy="3744913"/>
          </a:xfrm>
          <a:prstGeom prst="rect">
            <a:avLst/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6227763" y="987425"/>
            <a:ext cx="2665412" cy="3816349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top – Picture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8"/>
          </p:nvPr>
        </p:nvSpPr>
        <p:spPr bwMode="gray">
          <a:xfrm>
            <a:off x="250825" y="3003809"/>
            <a:ext cx="8642349" cy="1799965"/>
          </a:xfrm>
          <a:prstGeom prst="rect">
            <a:avLst/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9"/>
          </p:nvPr>
        </p:nvSpPr>
        <p:spPr bwMode="gray">
          <a:xfrm>
            <a:off x="250825" y="987426"/>
            <a:ext cx="8642350" cy="1872364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top – Tex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4"/>
          <p:cNvSpPr>
            <a:spLocks noGrp="1"/>
          </p:cNvSpPr>
          <p:nvPr>
            <p:ph type="pic" sz="quarter" idx="18"/>
            <p:custDataLst>
              <p:tags r:id="rId1"/>
            </p:custDataLst>
          </p:nvPr>
        </p:nvSpPr>
        <p:spPr bwMode="gray">
          <a:xfrm>
            <a:off x="250825" y="1058862"/>
            <a:ext cx="8642351" cy="1800928"/>
          </a:xfrm>
          <a:prstGeom prst="round1Rect">
            <a:avLst>
              <a:gd name="adj" fmla="val 21156"/>
            </a:avLst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9"/>
          </p:nvPr>
        </p:nvSpPr>
        <p:spPr bwMode="gray">
          <a:xfrm>
            <a:off x="250825" y="3003810"/>
            <a:ext cx="8642350" cy="1799964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headline + Text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5"/>
          </p:nvPr>
        </p:nvSpPr>
        <p:spPr bwMode="gray">
          <a:xfrm>
            <a:off x="250826" y="1563927"/>
            <a:ext cx="8642350" cy="3239848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50826" y="987267"/>
            <a:ext cx="8642349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GB" noProof="0" dirty="0" err="1" smtClean="0"/>
              <a:t>Subheadline</a:t>
            </a:r>
            <a:endParaRPr lang="en-GB" noProof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headline + 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6"/>
          </p:nvPr>
        </p:nvSpPr>
        <p:spPr bwMode="gray">
          <a:xfrm>
            <a:off x="250824" y="1563928"/>
            <a:ext cx="4177159" cy="3239848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7"/>
          </p:nvPr>
        </p:nvSpPr>
        <p:spPr bwMode="gray">
          <a:xfrm>
            <a:off x="4644009" y="1563928"/>
            <a:ext cx="4249166" cy="3239848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50825" y="987268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GB" noProof="0" dirty="0" err="1" smtClean="0"/>
              <a:t>Subheadline</a:t>
            </a:r>
            <a:endParaRPr lang="en-GB" noProof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Rechteck 5"/>
          <p:cNvSpPr/>
          <p:nvPr userDrawn="1">
            <p:custDataLst>
              <p:tags r:id="rId1"/>
            </p:custDataLst>
          </p:nvPr>
        </p:nvSpPr>
        <p:spPr bwMode="gray">
          <a:xfrm>
            <a:off x="323528" y="1116000"/>
            <a:ext cx="5472608" cy="2880000"/>
          </a:xfrm>
          <a:prstGeom prst="rect">
            <a:avLst/>
          </a:prstGeom>
          <a:gradFill flip="none" rotWithShape="1">
            <a:gsLst>
              <a:gs pos="0">
                <a:schemeClr val="bg2"/>
              </a:gs>
              <a:gs pos="100000">
                <a:schemeClr val="bg1"/>
              </a:gs>
            </a:gsLst>
            <a:path path="circle">
              <a:fillToRect r="100000" b="100000"/>
            </a:path>
            <a:tileRect l="-100000" t="-10000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t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b="1" dirty="0" smtClean="0">
              <a:solidFill>
                <a:srgbClr val="000000"/>
              </a:solidFill>
            </a:endParaRPr>
          </a:p>
        </p:txBody>
      </p:sp>
      <p:sp>
        <p:nvSpPr>
          <p:cNvPr id="7" name="Rechteck 6"/>
          <p:cNvSpPr/>
          <p:nvPr userDrawn="1">
            <p:custDataLst>
              <p:tags r:id="rId2"/>
            </p:custDataLst>
          </p:nvPr>
        </p:nvSpPr>
        <p:spPr bwMode="gray">
          <a:xfrm rot="16200000">
            <a:off x="-972418" y="2412000"/>
            <a:ext cx="2880000" cy="287954"/>
          </a:xfrm>
          <a:prstGeom prst="rect">
            <a:avLst/>
          </a:prstGeom>
          <a:gradFill flip="none" rotWithShape="1">
            <a:gsLst>
              <a:gs pos="30000">
                <a:schemeClr val="tx2"/>
              </a:gs>
              <a:gs pos="100000">
                <a:schemeClr val="tx2">
                  <a:lumMod val="60000"/>
                  <a:lumOff val="40000"/>
                </a:schemeClr>
              </a:gs>
            </a:gsLst>
            <a:lin ang="16200000" scaled="1"/>
            <a:tileRect/>
          </a:gra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90000" bIns="46800" rtlCol="0" anchor="ctr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5C5D"/>
              </a:buClr>
            </a:pPr>
            <a:endParaRPr kumimoji="0" lang="en-US" sz="1200" dirty="0" smtClean="0">
              <a:solidFill>
                <a:srgbClr val="FFFFFF"/>
              </a:solidFill>
            </a:endParaRP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9" hasCustomPrompt="1"/>
            <p:custDataLst>
              <p:tags r:id="rId3"/>
            </p:custDataLst>
          </p:nvPr>
        </p:nvSpPr>
        <p:spPr bwMode="gray">
          <a:xfrm rot="16200000">
            <a:off x="-972494" y="2412000"/>
            <a:ext cx="2880000" cy="287804"/>
          </a:xfrm>
        </p:spPr>
        <p:txBody>
          <a:bodyPr vert="horz" lIns="90000" tIns="0" rIns="90000" bIns="0" rtlCol="0" anchor="ctr" anchorCtr="0">
            <a:noAutofit/>
          </a:bodyPr>
          <a:lstStyle>
            <a:lvl1pPr>
              <a:buNone/>
              <a:defRPr lang="en-US" sz="12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516"/>
              </a:spcBef>
              <a:spcAft>
                <a:spcPts val="288"/>
              </a:spcAft>
              <a:buClr>
                <a:schemeClr val="accent2"/>
              </a:buClr>
              <a:buFont typeface="Wingdings" pitchFamily="2" charset="2"/>
              <a:buNone/>
            </a:pPr>
            <a:r>
              <a:rPr lang="en-US" dirty="0" smtClean="0"/>
              <a:t>Xxx</a:t>
            </a:r>
          </a:p>
        </p:txBody>
      </p:sp>
      <p:sp>
        <p:nvSpPr>
          <p:cNvPr id="11" name="Eine Ecke des Rechtecks abrunden 10"/>
          <p:cNvSpPr/>
          <p:nvPr userDrawn="1">
            <p:custDataLst>
              <p:tags r:id="rId4"/>
            </p:custDataLst>
          </p:nvPr>
        </p:nvSpPr>
        <p:spPr bwMode="gray">
          <a:xfrm>
            <a:off x="6012160" y="1124744"/>
            <a:ext cx="2952453" cy="792088"/>
          </a:xfrm>
          <a:prstGeom prst="round1Rect">
            <a:avLst>
              <a:gd name="adj" fmla="val 48101"/>
            </a:avLst>
          </a:prstGeom>
          <a:gradFill flip="none" rotWithShape="1">
            <a:gsLst>
              <a:gs pos="30000">
                <a:schemeClr val="tx2"/>
              </a:gs>
              <a:gs pos="100000">
                <a:schemeClr val="tx2">
                  <a:lumMod val="60000"/>
                  <a:lumOff val="40000"/>
                </a:schemeClr>
              </a:gs>
            </a:gsLst>
            <a:lin ang="16200000" scaled="1"/>
            <a:tileRect/>
          </a:gra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5C5D"/>
              </a:buClr>
            </a:pPr>
            <a:endParaRPr kumimoji="0" lang="en-US" sz="1400" dirty="0" smtClean="0">
              <a:solidFill>
                <a:srgbClr val="FFFFFF"/>
              </a:solidFill>
            </a:endParaRPr>
          </a:p>
        </p:txBody>
      </p:sp>
      <p:sp>
        <p:nvSpPr>
          <p:cNvPr id="12" name="Rechteck 11"/>
          <p:cNvSpPr/>
          <p:nvPr userDrawn="1">
            <p:custDataLst>
              <p:tags r:id="rId5"/>
            </p:custDataLst>
          </p:nvPr>
        </p:nvSpPr>
        <p:spPr bwMode="gray">
          <a:xfrm>
            <a:off x="6012160" y="1556247"/>
            <a:ext cx="2952453" cy="2988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266700" lvl="1" indent="-266700" algn="l" fontAlgn="auto">
              <a:spcBef>
                <a:spcPts val="516"/>
              </a:spcBef>
              <a:spcAft>
                <a:spcPts val="288"/>
              </a:spcAft>
              <a:buClr>
                <a:srgbClr val="A30B1A"/>
              </a:buClr>
              <a:buFont typeface="Wingdings" pitchFamily="2" charset="2"/>
              <a:buChar char="n"/>
            </a:pPr>
            <a:endParaRPr kumimoji="0" lang="en-US" sz="1050" dirty="0" smtClean="0">
              <a:solidFill>
                <a:srgbClr val="000000"/>
              </a:solidFill>
            </a:endParaRP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21"/>
            <p:custDataLst>
              <p:tags r:id="rId6"/>
            </p:custDataLst>
          </p:nvPr>
        </p:nvSpPr>
        <p:spPr bwMode="gray">
          <a:xfrm>
            <a:off x="6012160" y="1125463"/>
            <a:ext cx="2952453" cy="431329"/>
          </a:xfrm>
        </p:spPr>
        <p:txBody>
          <a:bodyPr lIns="90000" anchor="ctr" anchorCtr="0"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ext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2"/>
            <p:custDataLst>
              <p:tags r:id="rId7"/>
            </p:custDataLst>
          </p:nvPr>
        </p:nvSpPr>
        <p:spPr bwMode="gray">
          <a:xfrm>
            <a:off x="6012160" y="1556246"/>
            <a:ext cx="2952453" cy="2988000"/>
          </a:xfrm>
        </p:spPr>
        <p:txBody>
          <a:bodyPr lIns="90000" tIns="82800" rIns="90000" anchor="t" anchorCtr="0"/>
          <a:lstStyle>
            <a:lvl1pPr marL="0" indent="0">
              <a:buFont typeface="Wingdings" pitchFamily="2" charset="2"/>
              <a:buNone/>
              <a:defRPr sz="1400" b="1">
                <a:solidFill>
                  <a:schemeClr val="tx1"/>
                </a:solidFill>
              </a:defRPr>
            </a:lvl1pPr>
            <a:lvl2pPr marL="266700" indent="-266700">
              <a:buClr>
                <a:schemeClr val="accent3"/>
              </a:buClr>
              <a:defRPr sz="1400"/>
            </a:lvl2pPr>
          </a:lstStyle>
          <a:p>
            <a:pPr lvl="0"/>
            <a:r>
              <a:rPr lang="en-US" dirty="0" smtClean="0"/>
              <a:t>Text</a:t>
            </a:r>
          </a:p>
          <a:p>
            <a:pPr lvl="1"/>
            <a:r>
              <a:rPr lang="en-US" dirty="0" smtClean="0"/>
              <a:t>Text</a:t>
            </a:r>
          </a:p>
          <a:p>
            <a:pPr lvl="1"/>
            <a:r>
              <a:rPr lang="en-US" dirty="0" smtClean="0"/>
              <a:t>Text</a:t>
            </a:r>
          </a:p>
        </p:txBody>
      </p:sp>
      <p:sp>
        <p:nvSpPr>
          <p:cNvPr id="15" name="Rechteck 14"/>
          <p:cNvSpPr/>
          <p:nvPr userDrawn="1">
            <p:custDataLst>
              <p:tags r:id="rId8"/>
            </p:custDataLst>
          </p:nvPr>
        </p:nvSpPr>
        <p:spPr bwMode="gray">
          <a:xfrm>
            <a:off x="611560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16" name="Rechteck 15"/>
          <p:cNvSpPr/>
          <p:nvPr userDrawn="1">
            <p:custDataLst>
              <p:tags r:id="rId9"/>
            </p:custDataLst>
          </p:nvPr>
        </p:nvSpPr>
        <p:spPr bwMode="gray">
          <a:xfrm>
            <a:off x="827584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17" name="Rechteck 16"/>
          <p:cNvSpPr/>
          <p:nvPr userDrawn="1">
            <p:custDataLst>
              <p:tags r:id="rId10"/>
            </p:custDataLst>
          </p:nvPr>
        </p:nvSpPr>
        <p:spPr bwMode="gray">
          <a:xfrm>
            <a:off x="1043608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18" name="Rechteck 17"/>
          <p:cNvSpPr/>
          <p:nvPr userDrawn="1">
            <p:custDataLst>
              <p:tags r:id="rId11"/>
            </p:custDataLst>
          </p:nvPr>
        </p:nvSpPr>
        <p:spPr bwMode="gray">
          <a:xfrm>
            <a:off x="611560" y="1116000"/>
            <a:ext cx="648072" cy="3132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1</a:t>
            </a:r>
          </a:p>
        </p:txBody>
      </p:sp>
      <p:sp>
        <p:nvSpPr>
          <p:cNvPr id="19" name="Rechteck 18"/>
          <p:cNvSpPr/>
          <p:nvPr userDrawn="1">
            <p:custDataLst>
              <p:tags r:id="rId12"/>
            </p:custDataLst>
          </p:nvPr>
        </p:nvSpPr>
        <p:spPr bwMode="gray">
          <a:xfrm>
            <a:off x="1259632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20" name="Rechteck 19"/>
          <p:cNvSpPr/>
          <p:nvPr userDrawn="1">
            <p:custDataLst>
              <p:tags r:id="rId13"/>
            </p:custDataLst>
          </p:nvPr>
        </p:nvSpPr>
        <p:spPr bwMode="gray">
          <a:xfrm>
            <a:off x="1475656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21" name="Rechteck 20"/>
          <p:cNvSpPr/>
          <p:nvPr userDrawn="1">
            <p:custDataLst>
              <p:tags r:id="rId14"/>
            </p:custDataLst>
          </p:nvPr>
        </p:nvSpPr>
        <p:spPr bwMode="gray">
          <a:xfrm>
            <a:off x="1691680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22" name="Rechteck 21"/>
          <p:cNvSpPr/>
          <p:nvPr userDrawn="1">
            <p:custDataLst>
              <p:tags r:id="rId15"/>
            </p:custDataLst>
          </p:nvPr>
        </p:nvSpPr>
        <p:spPr bwMode="gray">
          <a:xfrm>
            <a:off x="1259632" y="1116000"/>
            <a:ext cx="648072" cy="3132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2</a:t>
            </a:r>
          </a:p>
        </p:txBody>
      </p:sp>
      <p:sp>
        <p:nvSpPr>
          <p:cNvPr id="23" name="Rechteck 22"/>
          <p:cNvSpPr/>
          <p:nvPr userDrawn="1">
            <p:custDataLst>
              <p:tags r:id="rId16"/>
            </p:custDataLst>
          </p:nvPr>
        </p:nvSpPr>
        <p:spPr bwMode="gray">
          <a:xfrm>
            <a:off x="1907704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24" name="Rechteck 23"/>
          <p:cNvSpPr/>
          <p:nvPr userDrawn="1">
            <p:custDataLst>
              <p:tags r:id="rId17"/>
            </p:custDataLst>
          </p:nvPr>
        </p:nvSpPr>
        <p:spPr bwMode="gray">
          <a:xfrm>
            <a:off x="2123728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25" name="Rechteck 24"/>
          <p:cNvSpPr/>
          <p:nvPr userDrawn="1">
            <p:custDataLst>
              <p:tags r:id="rId18"/>
            </p:custDataLst>
          </p:nvPr>
        </p:nvSpPr>
        <p:spPr bwMode="gray">
          <a:xfrm>
            <a:off x="2339752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26" name="Rechteck 25"/>
          <p:cNvSpPr/>
          <p:nvPr userDrawn="1">
            <p:custDataLst>
              <p:tags r:id="rId19"/>
            </p:custDataLst>
          </p:nvPr>
        </p:nvSpPr>
        <p:spPr bwMode="gray">
          <a:xfrm>
            <a:off x="1907704" y="1116000"/>
            <a:ext cx="648072" cy="3132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3</a:t>
            </a:r>
          </a:p>
        </p:txBody>
      </p:sp>
      <p:sp>
        <p:nvSpPr>
          <p:cNvPr id="27" name="Rechteck 26"/>
          <p:cNvSpPr/>
          <p:nvPr userDrawn="1">
            <p:custDataLst>
              <p:tags r:id="rId20"/>
            </p:custDataLst>
          </p:nvPr>
        </p:nvSpPr>
        <p:spPr bwMode="gray">
          <a:xfrm>
            <a:off x="2555776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28" name="Rechteck 27"/>
          <p:cNvSpPr/>
          <p:nvPr userDrawn="1">
            <p:custDataLst>
              <p:tags r:id="rId21"/>
            </p:custDataLst>
          </p:nvPr>
        </p:nvSpPr>
        <p:spPr bwMode="gray">
          <a:xfrm>
            <a:off x="2771800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29" name="Rechteck 28"/>
          <p:cNvSpPr/>
          <p:nvPr userDrawn="1">
            <p:custDataLst>
              <p:tags r:id="rId22"/>
            </p:custDataLst>
          </p:nvPr>
        </p:nvSpPr>
        <p:spPr bwMode="gray">
          <a:xfrm>
            <a:off x="2987824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0" name="Rechteck 29"/>
          <p:cNvSpPr/>
          <p:nvPr userDrawn="1">
            <p:custDataLst>
              <p:tags r:id="rId23"/>
            </p:custDataLst>
          </p:nvPr>
        </p:nvSpPr>
        <p:spPr bwMode="gray">
          <a:xfrm>
            <a:off x="2555776" y="1116000"/>
            <a:ext cx="648072" cy="3132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4</a:t>
            </a:r>
          </a:p>
        </p:txBody>
      </p:sp>
      <p:sp>
        <p:nvSpPr>
          <p:cNvPr id="31" name="Rechteck 30"/>
          <p:cNvSpPr/>
          <p:nvPr userDrawn="1">
            <p:custDataLst>
              <p:tags r:id="rId24"/>
            </p:custDataLst>
          </p:nvPr>
        </p:nvSpPr>
        <p:spPr bwMode="gray">
          <a:xfrm>
            <a:off x="3203848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2" name="Rechteck 31"/>
          <p:cNvSpPr/>
          <p:nvPr userDrawn="1">
            <p:custDataLst>
              <p:tags r:id="rId25"/>
            </p:custDataLst>
          </p:nvPr>
        </p:nvSpPr>
        <p:spPr bwMode="gray">
          <a:xfrm>
            <a:off x="3419872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3" name="Rechteck 32"/>
          <p:cNvSpPr/>
          <p:nvPr userDrawn="1">
            <p:custDataLst>
              <p:tags r:id="rId26"/>
            </p:custDataLst>
          </p:nvPr>
        </p:nvSpPr>
        <p:spPr bwMode="gray">
          <a:xfrm>
            <a:off x="3635896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4" name="Rechteck 33"/>
          <p:cNvSpPr/>
          <p:nvPr userDrawn="1">
            <p:custDataLst>
              <p:tags r:id="rId27"/>
            </p:custDataLst>
          </p:nvPr>
        </p:nvSpPr>
        <p:spPr bwMode="gray">
          <a:xfrm>
            <a:off x="3203848" y="1116000"/>
            <a:ext cx="648072" cy="3132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1</a:t>
            </a:r>
          </a:p>
        </p:txBody>
      </p:sp>
      <p:sp>
        <p:nvSpPr>
          <p:cNvPr id="35" name="Rechteck 34"/>
          <p:cNvSpPr/>
          <p:nvPr userDrawn="1">
            <p:custDataLst>
              <p:tags r:id="rId28"/>
            </p:custDataLst>
          </p:nvPr>
        </p:nvSpPr>
        <p:spPr bwMode="gray">
          <a:xfrm>
            <a:off x="3851920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6" name="Rechteck 35"/>
          <p:cNvSpPr/>
          <p:nvPr userDrawn="1">
            <p:custDataLst>
              <p:tags r:id="rId29"/>
            </p:custDataLst>
          </p:nvPr>
        </p:nvSpPr>
        <p:spPr bwMode="gray">
          <a:xfrm>
            <a:off x="4067944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7" name="Rechteck 36"/>
          <p:cNvSpPr/>
          <p:nvPr userDrawn="1">
            <p:custDataLst>
              <p:tags r:id="rId30"/>
            </p:custDataLst>
          </p:nvPr>
        </p:nvSpPr>
        <p:spPr bwMode="gray">
          <a:xfrm>
            <a:off x="4283968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8" name="Rechteck 37"/>
          <p:cNvSpPr/>
          <p:nvPr userDrawn="1">
            <p:custDataLst>
              <p:tags r:id="rId31"/>
            </p:custDataLst>
          </p:nvPr>
        </p:nvSpPr>
        <p:spPr bwMode="gray">
          <a:xfrm>
            <a:off x="3851920" y="1116000"/>
            <a:ext cx="648072" cy="3132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2</a:t>
            </a:r>
          </a:p>
        </p:txBody>
      </p:sp>
      <p:sp>
        <p:nvSpPr>
          <p:cNvPr id="39" name="Rechteck 38"/>
          <p:cNvSpPr/>
          <p:nvPr userDrawn="1">
            <p:custDataLst>
              <p:tags r:id="rId32"/>
            </p:custDataLst>
          </p:nvPr>
        </p:nvSpPr>
        <p:spPr bwMode="gray">
          <a:xfrm>
            <a:off x="4499992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40" name="Rechteck 39"/>
          <p:cNvSpPr/>
          <p:nvPr userDrawn="1">
            <p:custDataLst>
              <p:tags r:id="rId33"/>
            </p:custDataLst>
          </p:nvPr>
        </p:nvSpPr>
        <p:spPr bwMode="gray">
          <a:xfrm>
            <a:off x="4716016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41" name="Rechteck 40"/>
          <p:cNvSpPr/>
          <p:nvPr userDrawn="1">
            <p:custDataLst>
              <p:tags r:id="rId34"/>
            </p:custDataLst>
          </p:nvPr>
        </p:nvSpPr>
        <p:spPr bwMode="gray">
          <a:xfrm>
            <a:off x="4932040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42" name="Rechteck 41"/>
          <p:cNvSpPr/>
          <p:nvPr userDrawn="1">
            <p:custDataLst>
              <p:tags r:id="rId35"/>
            </p:custDataLst>
          </p:nvPr>
        </p:nvSpPr>
        <p:spPr bwMode="gray">
          <a:xfrm>
            <a:off x="4499992" y="1116000"/>
            <a:ext cx="648072" cy="3132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3</a:t>
            </a:r>
          </a:p>
        </p:txBody>
      </p:sp>
      <p:sp>
        <p:nvSpPr>
          <p:cNvPr id="43" name="Rechteck 42"/>
          <p:cNvSpPr/>
          <p:nvPr userDrawn="1">
            <p:custDataLst>
              <p:tags r:id="rId36"/>
            </p:custDataLst>
          </p:nvPr>
        </p:nvSpPr>
        <p:spPr bwMode="gray">
          <a:xfrm>
            <a:off x="5148064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44" name="Rechteck 43"/>
          <p:cNvSpPr/>
          <p:nvPr userDrawn="1">
            <p:custDataLst>
              <p:tags r:id="rId37"/>
            </p:custDataLst>
          </p:nvPr>
        </p:nvSpPr>
        <p:spPr bwMode="gray">
          <a:xfrm>
            <a:off x="5364088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45" name="Rechteck 44"/>
          <p:cNvSpPr/>
          <p:nvPr userDrawn="1">
            <p:custDataLst>
              <p:tags r:id="rId38"/>
            </p:custDataLst>
          </p:nvPr>
        </p:nvSpPr>
        <p:spPr bwMode="gray">
          <a:xfrm>
            <a:off x="5580112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46" name="Rechteck 45"/>
          <p:cNvSpPr/>
          <p:nvPr userDrawn="1">
            <p:custDataLst>
              <p:tags r:id="rId39"/>
            </p:custDataLst>
          </p:nvPr>
        </p:nvSpPr>
        <p:spPr bwMode="gray">
          <a:xfrm>
            <a:off x="5148064" y="1116000"/>
            <a:ext cx="648072" cy="3132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4</a:t>
            </a:r>
          </a:p>
        </p:txBody>
      </p:sp>
      <p:cxnSp>
        <p:nvCxnSpPr>
          <p:cNvPr id="49" name="Gerade Verbindung 48"/>
          <p:cNvCxnSpPr/>
          <p:nvPr userDrawn="1">
            <p:custDataLst>
              <p:tags r:id="rId40"/>
            </p:custDataLst>
          </p:nvPr>
        </p:nvCxnSpPr>
        <p:spPr>
          <a:xfrm flipH="1">
            <a:off x="1259541" y="1125290"/>
            <a:ext cx="91" cy="3128463"/>
          </a:xfrm>
          <a:prstGeom prst="line">
            <a:avLst/>
          </a:prstGeom>
          <a:ln w="1905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49"/>
          <p:cNvCxnSpPr/>
          <p:nvPr userDrawn="1">
            <p:custDataLst>
              <p:tags r:id="rId41"/>
            </p:custDataLst>
          </p:nvPr>
        </p:nvCxnSpPr>
        <p:spPr>
          <a:xfrm rot="5400000">
            <a:off x="341704" y="2691290"/>
            <a:ext cx="3132000" cy="0"/>
          </a:xfrm>
          <a:prstGeom prst="line">
            <a:avLst/>
          </a:prstGeom>
          <a:ln w="1905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50"/>
          <p:cNvCxnSpPr/>
          <p:nvPr userDrawn="1">
            <p:custDataLst>
              <p:tags r:id="rId42"/>
            </p:custDataLst>
          </p:nvPr>
        </p:nvCxnSpPr>
        <p:spPr>
          <a:xfrm rot="5400000">
            <a:off x="989776" y="2691290"/>
            <a:ext cx="3132000" cy="0"/>
          </a:xfrm>
          <a:prstGeom prst="line">
            <a:avLst/>
          </a:prstGeom>
          <a:ln w="1905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rade Verbindung 51"/>
          <p:cNvCxnSpPr/>
          <p:nvPr userDrawn="1">
            <p:custDataLst>
              <p:tags r:id="rId43"/>
            </p:custDataLst>
          </p:nvPr>
        </p:nvCxnSpPr>
        <p:spPr>
          <a:xfrm flipH="1">
            <a:off x="3850341" y="1125290"/>
            <a:ext cx="1579" cy="3119498"/>
          </a:xfrm>
          <a:prstGeom prst="line">
            <a:avLst/>
          </a:prstGeom>
          <a:ln w="1905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 Verbindung 52"/>
          <p:cNvCxnSpPr/>
          <p:nvPr userDrawn="1">
            <p:custDataLst>
              <p:tags r:id="rId44"/>
            </p:custDataLst>
          </p:nvPr>
        </p:nvCxnSpPr>
        <p:spPr>
          <a:xfrm rot="5400000">
            <a:off x="2933992" y="2691290"/>
            <a:ext cx="3132000" cy="0"/>
          </a:xfrm>
          <a:prstGeom prst="line">
            <a:avLst/>
          </a:prstGeom>
          <a:ln w="1905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53"/>
          <p:cNvCxnSpPr/>
          <p:nvPr userDrawn="1">
            <p:custDataLst>
              <p:tags r:id="rId45"/>
            </p:custDataLst>
          </p:nvPr>
        </p:nvCxnSpPr>
        <p:spPr>
          <a:xfrm rot="5400000">
            <a:off x="3582064" y="2691290"/>
            <a:ext cx="3132000" cy="0"/>
          </a:xfrm>
          <a:prstGeom prst="line">
            <a:avLst/>
          </a:prstGeom>
          <a:ln w="1905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8"/>
          <p:cNvSpPr>
            <a:spLocks noGrp="1"/>
          </p:cNvSpPr>
          <p:nvPr>
            <p:ph type="body" sz="quarter" idx="18" hasCustomPrompt="1"/>
            <p:custDataLst>
              <p:tags r:id="rId46"/>
            </p:custDataLst>
          </p:nvPr>
        </p:nvSpPr>
        <p:spPr bwMode="gray">
          <a:xfrm>
            <a:off x="608440" y="4248000"/>
            <a:ext cx="2600325" cy="288032"/>
          </a:xfrm>
        </p:spPr>
        <p:txBody>
          <a:bodyPr lIns="90000" rIns="90000" anchor="ctr" anchorCtr="0"/>
          <a:lstStyle>
            <a:lvl1pPr algn="ctr">
              <a:buNone/>
              <a:defRPr sz="11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2014</a:t>
            </a:r>
          </a:p>
        </p:txBody>
      </p:sp>
      <p:sp>
        <p:nvSpPr>
          <p:cNvPr id="71" name="Rectangle 241"/>
          <p:cNvSpPr>
            <a:spLocks noChangeArrowheads="1"/>
          </p:cNvSpPr>
          <p:nvPr userDrawn="1"/>
        </p:nvSpPr>
        <p:spPr bwMode="gray">
          <a:xfrm>
            <a:off x="180229" y="4803551"/>
            <a:ext cx="8784383" cy="1444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90000" tIns="46800" rIns="90000" bIns="46800" anchor="ctr" anchorCtr="0">
            <a:noAutofit/>
          </a:bodyPr>
          <a:lstStyle/>
          <a:p>
            <a:pPr algn="l" defTabSz="74295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ja-JP" sz="900" kern="0" smtClean="0">
                <a:solidFill>
                  <a:sysClr val="windowText" lastClr="000000"/>
                </a:solidFill>
                <a:latin typeface="Arial"/>
                <a:ea typeface="+mn-ea"/>
              </a:rPr>
              <a:t>All dates are subject to change. </a:t>
            </a:r>
          </a:p>
        </p:txBody>
      </p:sp>
      <p:cxnSp>
        <p:nvCxnSpPr>
          <p:cNvPr id="75" name="Gerade Verbindung 74"/>
          <p:cNvCxnSpPr/>
          <p:nvPr userDrawn="1">
            <p:custDataLst>
              <p:tags r:id="rId47"/>
            </p:custDataLst>
          </p:nvPr>
        </p:nvCxnSpPr>
        <p:spPr>
          <a:xfrm rot="5400000">
            <a:off x="1637476" y="2674961"/>
            <a:ext cx="3132000" cy="0"/>
          </a:xfrm>
          <a:prstGeom prst="line">
            <a:avLst/>
          </a:prstGeom>
          <a:ln w="1905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chteck 46"/>
          <p:cNvSpPr/>
          <p:nvPr userDrawn="1">
            <p:custDataLst>
              <p:tags r:id="rId48"/>
            </p:custDataLst>
          </p:nvPr>
        </p:nvSpPr>
        <p:spPr bwMode="gray">
          <a:xfrm>
            <a:off x="608440" y="1116000"/>
            <a:ext cx="2595563" cy="3420000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200" b="1" dirty="0" smtClean="0">
              <a:solidFill>
                <a:srgbClr val="000000"/>
              </a:solidFill>
            </a:endParaRPr>
          </a:p>
        </p:txBody>
      </p:sp>
      <p:sp>
        <p:nvSpPr>
          <p:cNvPr id="64" name="Rechteck 63"/>
          <p:cNvSpPr/>
          <p:nvPr userDrawn="1">
            <p:custDataLst>
              <p:tags r:id="rId49"/>
            </p:custDataLst>
          </p:nvPr>
        </p:nvSpPr>
        <p:spPr bwMode="gray">
          <a:xfrm>
            <a:off x="3203849" y="1115984"/>
            <a:ext cx="2587472" cy="3420000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200" b="1" dirty="0" smtClean="0">
              <a:solidFill>
                <a:srgbClr val="000000"/>
              </a:solidFill>
            </a:endParaRPr>
          </a:p>
        </p:txBody>
      </p:sp>
      <p:sp>
        <p:nvSpPr>
          <p:cNvPr id="76" name="Text Placeholder 8"/>
          <p:cNvSpPr>
            <a:spLocks noGrp="1"/>
          </p:cNvSpPr>
          <p:nvPr>
            <p:ph type="body" sz="quarter" idx="23" hasCustomPrompt="1"/>
            <p:custDataLst>
              <p:tags r:id="rId50"/>
            </p:custDataLst>
          </p:nvPr>
        </p:nvSpPr>
        <p:spPr bwMode="gray">
          <a:xfrm>
            <a:off x="3197180" y="4252763"/>
            <a:ext cx="2603546" cy="288032"/>
          </a:xfrm>
        </p:spPr>
        <p:txBody>
          <a:bodyPr lIns="90000" rIns="90000" anchor="ctr" anchorCtr="0"/>
          <a:lstStyle>
            <a:lvl1pPr algn="ctr">
              <a:buNone/>
              <a:defRPr sz="11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2015</a:t>
            </a:r>
          </a:p>
        </p:txBody>
      </p:sp>
      <p:sp>
        <p:nvSpPr>
          <p:cNvPr id="62" name="Rectangle 242"/>
          <p:cNvSpPr>
            <a:spLocks noChangeArrowheads="1"/>
          </p:cNvSpPr>
          <p:nvPr userDrawn="1"/>
        </p:nvSpPr>
        <p:spPr bwMode="gray">
          <a:xfrm>
            <a:off x="4067944" y="4588568"/>
            <a:ext cx="288032" cy="144463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tx2"/>
            </a:solidFill>
            <a:prstDash val="solid"/>
            <a:headEnd type="none" w="med" len="med"/>
            <a:tailEnd type="none" w="med" len="med"/>
          </a:ln>
          <a:effectLst/>
        </p:spPr>
        <p:txBody>
          <a:bodyPr wrap="square" lIns="90000" tIns="46800" rIns="90000" bIns="46800" anchor="ctr"/>
          <a:lstStyle/>
          <a:p>
            <a:pPr algn="l">
              <a:spcBef>
                <a:spcPts val="0"/>
              </a:spcBef>
              <a:spcAft>
                <a:spcPts val="0"/>
              </a:spcAft>
              <a:defRPr/>
            </a:pPr>
            <a:endParaRPr kumimoji="0" lang="en-US" altLang="ja-JP" sz="1100" b="1" kern="0">
              <a:latin typeface="Arial"/>
              <a:cs typeface="Arial"/>
            </a:endParaRPr>
          </a:p>
        </p:txBody>
      </p:sp>
      <p:sp>
        <p:nvSpPr>
          <p:cNvPr id="63" name="Rectangle 246"/>
          <p:cNvSpPr>
            <a:spLocks noChangeArrowheads="1"/>
          </p:cNvSpPr>
          <p:nvPr userDrawn="1"/>
        </p:nvSpPr>
        <p:spPr bwMode="gray">
          <a:xfrm>
            <a:off x="1691680" y="4588569"/>
            <a:ext cx="288032" cy="144462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75000"/>
                </a:schemeClr>
              </a:gs>
              <a:gs pos="50000">
                <a:schemeClr val="bg1">
                  <a:lumMod val="75000"/>
                </a:schemeClr>
              </a:gs>
              <a:gs pos="100000">
                <a:schemeClr val="bg2">
                  <a:shade val="100000"/>
                  <a:satMod val="115000"/>
                </a:schemeClr>
              </a:gs>
            </a:gsLst>
            <a:lin ang="5400000" scaled="1"/>
            <a:tileRect/>
          </a:gra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wrap="square" lIns="90000" tIns="46800" rIns="90000" bIns="46800" anchor="ctr"/>
          <a:lstStyle/>
          <a:p>
            <a:pPr algn="l" eaLnBrk="0" hangingPunct="0">
              <a:spcBef>
                <a:spcPts val="0"/>
              </a:spcBef>
              <a:spcAft>
                <a:spcPts val="0"/>
              </a:spcAft>
            </a:pPr>
            <a:endParaRPr kumimoji="0" lang="en-US" altLang="ja-JP" sz="1100" b="1" kern="0">
              <a:solidFill>
                <a:srgbClr val="FFFFFF"/>
              </a:solidFill>
              <a:latin typeface="Arial"/>
              <a:ea typeface="+mn-ea"/>
            </a:endParaRPr>
          </a:p>
        </p:txBody>
      </p:sp>
      <p:sp>
        <p:nvSpPr>
          <p:cNvPr id="65" name="Rectangle 247"/>
          <p:cNvSpPr>
            <a:spLocks noChangeArrowheads="1"/>
          </p:cNvSpPr>
          <p:nvPr userDrawn="1"/>
        </p:nvSpPr>
        <p:spPr bwMode="gray">
          <a:xfrm>
            <a:off x="1979712" y="4588568"/>
            <a:ext cx="1557338" cy="1444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90000" tIns="46800" rIns="90000" bIns="46800" anchor="ctr" anchorCtr="0">
            <a:noAutofit/>
          </a:bodyPr>
          <a:lstStyle/>
          <a:p>
            <a:pPr algn="l" defTabSz="74295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ja-JP" sz="900" kern="0" dirty="0" smtClean="0">
                <a:solidFill>
                  <a:sysClr val="windowText" lastClr="000000"/>
                </a:solidFill>
                <a:latin typeface="Arial"/>
                <a:ea typeface="+mn-ea"/>
              </a:rPr>
              <a:t>EOL as long as stock lasts</a:t>
            </a:r>
          </a:p>
        </p:txBody>
      </p:sp>
      <p:sp>
        <p:nvSpPr>
          <p:cNvPr id="66" name="Rectangle 242"/>
          <p:cNvSpPr>
            <a:spLocks noChangeArrowheads="1"/>
          </p:cNvSpPr>
          <p:nvPr userDrawn="1"/>
        </p:nvSpPr>
        <p:spPr bwMode="gray">
          <a:xfrm>
            <a:off x="1403648" y="4588568"/>
            <a:ext cx="288032" cy="144463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tx2"/>
            </a:solidFill>
            <a:prstDash val="solid"/>
            <a:headEnd type="none" w="med" len="med"/>
            <a:tailEnd type="none" w="med" len="med"/>
          </a:ln>
          <a:effectLst/>
        </p:spPr>
        <p:txBody>
          <a:bodyPr wrap="square" lIns="90000" tIns="46800" rIns="90000" bIns="46800" anchor="ctr"/>
          <a:lstStyle/>
          <a:p>
            <a:pPr algn="l">
              <a:spcBef>
                <a:spcPts val="0"/>
              </a:spcBef>
              <a:spcAft>
                <a:spcPts val="0"/>
              </a:spcAft>
              <a:defRPr/>
            </a:pPr>
            <a:endParaRPr kumimoji="0" lang="en-US" altLang="ja-JP" sz="1100" b="1" kern="0">
              <a:latin typeface="Arial"/>
              <a:cs typeface="Arial"/>
            </a:endParaRPr>
          </a:p>
        </p:txBody>
      </p:sp>
      <p:sp>
        <p:nvSpPr>
          <p:cNvPr id="77" name="Rectangle 243"/>
          <p:cNvSpPr>
            <a:spLocks noChangeArrowheads="1"/>
          </p:cNvSpPr>
          <p:nvPr userDrawn="1"/>
        </p:nvSpPr>
        <p:spPr bwMode="gray">
          <a:xfrm>
            <a:off x="4355976" y="4588568"/>
            <a:ext cx="2256284" cy="1444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90000" tIns="46800" rIns="90000" bIns="46800" anchor="ctr" anchorCtr="0">
            <a:noAutofit/>
          </a:bodyPr>
          <a:lstStyle/>
          <a:p>
            <a:pPr algn="l" defTabSz="74295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ja-JP" sz="900" kern="0" dirty="0" smtClean="0">
                <a:solidFill>
                  <a:sysClr val="windowText" lastClr="000000"/>
                </a:solidFill>
                <a:latin typeface="Arial"/>
                <a:ea typeface="+mn-ea"/>
              </a:rPr>
              <a:t>Roadmap product</a:t>
            </a:r>
          </a:p>
        </p:txBody>
      </p:sp>
    </p:spTree>
    <p:extLst>
      <p:ext uri="{BB962C8B-B14F-4D97-AF65-F5344CB8AC3E}">
        <p14:creationId xmlns:p14="http://schemas.microsoft.com/office/powerpoint/2010/main" val="3794881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headline + Tex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9"/>
          </p:nvPr>
        </p:nvSpPr>
        <p:spPr bwMode="gray">
          <a:xfrm>
            <a:off x="250825" y="1563928"/>
            <a:ext cx="2736999" cy="3239848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20"/>
          </p:nvPr>
        </p:nvSpPr>
        <p:spPr bwMode="gray">
          <a:xfrm>
            <a:off x="3203848" y="1563928"/>
            <a:ext cx="2808312" cy="3239848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/>
          </a:p>
        </p:txBody>
      </p:sp>
      <p:sp>
        <p:nvSpPr>
          <p:cNvPr id="20" name="Text Placeholder 9"/>
          <p:cNvSpPr>
            <a:spLocks noGrp="1"/>
          </p:cNvSpPr>
          <p:nvPr>
            <p:ph type="body" sz="quarter" idx="21"/>
          </p:nvPr>
        </p:nvSpPr>
        <p:spPr bwMode="gray">
          <a:xfrm>
            <a:off x="6228184" y="1563928"/>
            <a:ext cx="2664991" cy="3239848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7" name="Textplatzhalter 1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50825" y="987268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GB" noProof="0" dirty="0" err="1" smtClean="0"/>
              <a:t>Subheadline</a:t>
            </a:r>
            <a:endParaRPr lang="en-GB" noProof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headline +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4" name="Textplatzhalter 1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50825" y="987546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GB" noProof="0" dirty="0" err="1" smtClean="0"/>
              <a:t>Subheadline</a:t>
            </a:r>
            <a:endParaRPr lang="en-GB" noProof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headline +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 bwMode="gray">
          <a:xfrm>
            <a:off x="250825" y="1635936"/>
            <a:ext cx="8642350" cy="3167840"/>
          </a:xfrm>
          <a:prstGeom prst="round1Rect">
            <a:avLst>
              <a:gd name="adj" fmla="val 12027"/>
            </a:avLst>
          </a:prstGeom>
          <a:noFill/>
          <a:ln>
            <a:noFill/>
          </a:ln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/>
          </a:p>
        </p:txBody>
      </p:sp>
      <p:sp>
        <p:nvSpPr>
          <p:cNvPr id="5" name="Textplatzhalter 1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50825" y="987268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GB" noProof="0" dirty="0" err="1" smtClean="0"/>
              <a:t>Subheadline</a:t>
            </a:r>
            <a:endParaRPr lang="en-GB" noProof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headline +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 bwMode="gray">
          <a:xfrm>
            <a:off x="4716016" y="1635936"/>
            <a:ext cx="4177159" cy="3167840"/>
          </a:xfrm>
          <a:prstGeom prst="round1Rect">
            <a:avLst>
              <a:gd name="adj" fmla="val 12027"/>
            </a:avLst>
          </a:prstGeom>
          <a:noFill/>
          <a:ln>
            <a:noFill/>
          </a:ln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/>
          </a:p>
        </p:txBody>
      </p:sp>
      <p:sp>
        <p:nvSpPr>
          <p:cNvPr id="10" name="Picture Placeholder 10"/>
          <p:cNvSpPr>
            <a:spLocks noGrp="1"/>
          </p:cNvSpPr>
          <p:nvPr>
            <p:ph type="pic" sz="quarter" idx="16"/>
            <p:custDataLst>
              <p:tags r:id="rId2"/>
            </p:custDataLst>
          </p:nvPr>
        </p:nvSpPr>
        <p:spPr bwMode="gray">
          <a:xfrm>
            <a:off x="250825" y="1635936"/>
            <a:ext cx="4177160" cy="316784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987268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GB" noProof="0" dirty="0" err="1" smtClean="0"/>
              <a:t>Subheadline</a:t>
            </a:r>
            <a:endParaRPr lang="en-GB" noProof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headline + Text left –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4" name="Bildplatzhalter 12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 bwMode="gray">
          <a:xfrm>
            <a:off x="4716016" y="1635936"/>
            <a:ext cx="4177159" cy="3167840"/>
          </a:xfrm>
          <a:prstGeom prst="round1Rect">
            <a:avLst>
              <a:gd name="adj" fmla="val 12027"/>
            </a:avLst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7"/>
          </p:nvPr>
        </p:nvSpPr>
        <p:spPr bwMode="gray">
          <a:xfrm>
            <a:off x="250824" y="1563928"/>
            <a:ext cx="4177159" cy="3239848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50825" y="987268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GB" noProof="0" dirty="0" err="1" smtClean="0"/>
              <a:t>Subheadline</a:t>
            </a:r>
            <a:endParaRPr lang="en-GB" noProof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headline + Picture left –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4" name="Bildplatzhalter 12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 bwMode="gray">
          <a:xfrm>
            <a:off x="250824" y="1635936"/>
            <a:ext cx="4177159" cy="3167840"/>
          </a:xfrm>
          <a:prstGeom prst="rect">
            <a:avLst/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7"/>
          </p:nvPr>
        </p:nvSpPr>
        <p:spPr bwMode="gray">
          <a:xfrm>
            <a:off x="4644008" y="1563928"/>
            <a:ext cx="4249167" cy="3239848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50825" y="987268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GB" noProof="0" dirty="0" err="1" smtClean="0"/>
              <a:t>Subheadline</a:t>
            </a:r>
            <a:endParaRPr lang="en-GB" noProof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headline + Text left 2/3 – Picture right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6228184" y="1635936"/>
            <a:ext cx="2664991" cy="3167840"/>
          </a:xfrm>
          <a:prstGeom prst="round1Rect">
            <a:avLst>
              <a:gd name="adj" fmla="val 14296"/>
            </a:avLst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250824" y="1563928"/>
            <a:ext cx="5761335" cy="3239848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50825" y="987268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GB" noProof="0" dirty="0" err="1" smtClean="0"/>
              <a:t>Subheadline</a:t>
            </a:r>
            <a:endParaRPr lang="en-GB" noProof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Rechteck 111"/>
          <p:cNvSpPr/>
          <p:nvPr>
            <p:custDataLst>
              <p:tags r:id="rId1"/>
            </p:custDataLst>
          </p:nvPr>
        </p:nvSpPr>
        <p:spPr bwMode="gray">
          <a:xfrm>
            <a:off x="396000" y="2105976"/>
            <a:ext cx="8640000" cy="846023"/>
          </a:xfrm>
          <a:prstGeom prst="rect">
            <a:avLst/>
          </a:prstGeom>
          <a:gradFill flip="none" rotWithShape="1">
            <a:gsLst>
              <a:gs pos="0">
                <a:schemeClr val="bg2"/>
              </a:gs>
              <a:gs pos="100000">
                <a:schemeClr val="bg1"/>
              </a:gs>
            </a:gsLst>
            <a:path path="circle">
              <a:fillToRect r="100000" b="100000"/>
            </a:path>
            <a:tileRect l="-100000" t="-10000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t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b="1" dirty="0" smtClean="0">
              <a:solidFill>
                <a:srgbClr val="000000"/>
              </a:solidFill>
            </a:endParaRPr>
          </a:p>
        </p:txBody>
      </p:sp>
      <p:sp>
        <p:nvSpPr>
          <p:cNvPr id="113" name="Rechteck 112"/>
          <p:cNvSpPr/>
          <p:nvPr>
            <p:custDataLst>
              <p:tags r:id="rId2"/>
            </p:custDataLst>
          </p:nvPr>
        </p:nvSpPr>
        <p:spPr bwMode="gray">
          <a:xfrm>
            <a:off x="393581" y="2978317"/>
            <a:ext cx="8640000" cy="864000"/>
          </a:xfrm>
          <a:prstGeom prst="rect">
            <a:avLst/>
          </a:prstGeom>
          <a:gradFill flip="none" rotWithShape="1">
            <a:gsLst>
              <a:gs pos="0">
                <a:schemeClr val="bg2"/>
              </a:gs>
              <a:gs pos="100000">
                <a:schemeClr val="bg1"/>
              </a:gs>
            </a:gsLst>
            <a:path path="circle">
              <a:fillToRect r="100000" b="100000"/>
            </a:path>
            <a:tileRect l="-100000" t="-10000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t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b="1" dirty="0" smtClean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5" name="Eine Ecke des Rechtecks abrunden 4"/>
          <p:cNvSpPr/>
          <p:nvPr>
            <p:custDataLst>
              <p:tags r:id="rId3"/>
            </p:custDataLst>
          </p:nvPr>
        </p:nvSpPr>
        <p:spPr bwMode="gray">
          <a:xfrm>
            <a:off x="395536" y="936000"/>
            <a:ext cx="8640514" cy="576000"/>
          </a:xfrm>
          <a:prstGeom prst="round1Rect">
            <a:avLst>
              <a:gd name="adj" fmla="val 50000"/>
            </a:avLst>
          </a:prstGeom>
          <a:gradFill flip="none" rotWithShape="1">
            <a:gsLst>
              <a:gs pos="30000">
                <a:schemeClr val="tx2"/>
              </a:gs>
              <a:gs pos="100000">
                <a:schemeClr val="tx2">
                  <a:lumMod val="60000"/>
                  <a:lumOff val="40000"/>
                </a:schemeClr>
              </a:gs>
            </a:gsLst>
            <a:lin ang="16200000" scaled="1"/>
            <a:tileRect/>
          </a:gra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  <a:buClr>
                <a:srgbClr val="005C5D"/>
              </a:buClr>
              <a:buFont typeface="Wingdings" pitchFamily="2" charset="2"/>
              <a:buNone/>
            </a:pPr>
            <a:r>
              <a:rPr kumimoji="0" lang="en-US" sz="1400" dirty="0" smtClean="0">
                <a:solidFill>
                  <a:srgbClr val="FFFFFF"/>
                </a:solidFill>
              </a:rPr>
              <a:t> </a:t>
            </a:r>
          </a:p>
          <a:p>
            <a:pPr algn="l" fontAlgn="auto">
              <a:spcBef>
                <a:spcPts val="0"/>
              </a:spcBef>
              <a:spcAft>
                <a:spcPts val="0"/>
              </a:spcAft>
              <a:buClr>
                <a:srgbClr val="005C5D"/>
              </a:buClr>
              <a:buFont typeface="Wingdings" pitchFamily="2" charset="2"/>
              <a:buNone/>
            </a:pPr>
            <a:endParaRPr kumimoji="0" lang="en-US" sz="1400" dirty="0" smtClean="0">
              <a:solidFill>
                <a:srgbClr val="FFFFFF"/>
              </a:solidFill>
            </a:endParaRPr>
          </a:p>
          <a:p>
            <a:pPr algn="l" fontAlgn="auto">
              <a:spcBef>
                <a:spcPts val="0"/>
              </a:spcBef>
              <a:spcAft>
                <a:spcPts val="0"/>
              </a:spcAft>
              <a:buClr>
                <a:srgbClr val="005C5D"/>
              </a:buClr>
              <a:buFont typeface="Wingdings" pitchFamily="2" charset="2"/>
              <a:buNone/>
            </a:pPr>
            <a:endParaRPr kumimoji="0" lang="en-US" sz="1400" dirty="0" smtClean="0">
              <a:solidFill>
                <a:srgbClr val="FFFFFF"/>
              </a:solidFill>
            </a:endParaRPr>
          </a:p>
        </p:txBody>
      </p:sp>
      <p:sp>
        <p:nvSpPr>
          <p:cNvPr id="6" name="Rechteck 5"/>
          <p:cNvSpPr/>
          <p:nvPr>
            <p:custDataLst>
              <p:tags r:id="rId4"/>
            </p:custDataLst>
          </p:nvPr>
        </p:nvSpPr>
        <p:spPr bwMode="gray">
          <a:xfrm>
            <a:off x="393581" y="1205940"/>
            <a:ext cx="8640000" cy="864000"/>
          </a:xfrm>
          <a:prstGeom prst="rect">
            <a:avLst/>
          </a:prstGeom>
          <a:gradFill flip="none" rotWithShape="1">
            <a:gsLst>
              <a:gs pos="0">
                <a:schemeClr val="bg2"/>
              </a:gs>
              <a:gs pos="100000">
                <a:schemeClr val="bg1"/>
              </a:gs>
            </a:gsLst>
            <a:path path="circle">
              <a:fillToRect r="100000" b="100000"/>
            </a:path>
            <a:tileRect l="-100000" t="-10000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t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b="1" dirty="0" smtClean="0">
              <a:solidFill>
                <a:srgbClr val="000000"/>
              </a:solidFill>
            </a:endParaRPr>
          </a:p>
        </p:txBody>
      </p:sp>
      <p:sp>
        <p:nvSpPr>
          <p:cNvPr id="7" name="Rechteck 6"/>
          <p:cNvSpPr/>
          <p:nvPr>
            <p:custDataLst>
              <p:tags r:id="rId5"/>
            </p:custDataLst>
          </p:nvPr>
        </p:nvSpPr>
        <p:spPr bwMode="gray">
          <a:xfrm>
            <a:off x="395536" y="1196754"/>
            <a:ext cx="1080120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1</a:t>
            </a:r>
          </a:p>
        </p:txBody>
      </p:sp>
      <p:sp>
        <p:nvSpPr>
          <p:cNvPr id="8" name="Rechteck 7"/>
          <p:cNvSpPr/>
          <p:nvPr>
            <p:custDataLst>
              <p:tags r:id="rId6"/>
            </p:custDataLst>
          </p:nvPr>
        </p:nvSpPr>
        <p:spPr bwMode="gray">
          <a:xfrm>
            <a:off x="1475656" y="1196754"/>
            <a:ext cx="1080120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2</a:t>
            </a:r>
          </a:p>
        </p:txBody>
      </p:sp>
      <p:sp>
        <p:nvSpPr>
          <p:cNvPr id="9" name="Rechteck 8"/>
          <p:cNvSpPr/>
          <p:nvPr>
            <p:custDataLst>
              <p:tags r:id="rId7"/>
            </p:custDataLst>
          </p:nvPr>
        </p:nvSpPr>
        <p:spPr bwMode="gray">
          <a:xfrm>
            <a:off x="2555776" y="1196754"/>
            <a:ext cx="1080120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3</a:t>
            </a:r>
          </a:p>
        </p:txBody>
      </p:sp>
      <p:sp>
        <p:nvSpPr>
          <p:cNvPr id="10" name="Rechteck 9"/>
          <p:cNvSpPr/>
          <p:nvPr>
            <p:custDataLst>
              <p:tags r:id="rId8"/>
            </p:custDataLst>
          </p:nvPr>
        </p:nvSpPr>
        <p:spPr bwMode="gray">
          <a:xfrm>
            <a:off x="3635896" y="1196754"/>
            <a:ext cx="1080120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4</a:t>
            </a:r>
          </a:p>
        </p:txBody>
      </p:sp>
      <p:sp>
        <p:nvSpPr>
          <p:cNvPr id="11" name="Rechteck 10"/>
          <p:cNvSpPr/>
          <p:nvPr>
            <p:custDataLst>
              <p:tags r:id="rId9"/>
            </p:custDataLst>
          </p:nvPr>
        </p:nvSpPr>
        <p:spPr bwMode="gray">
          <a:xfrm>
            <a:off x="4716016" y="1196754"/>
            <a:ext cx="1080120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1</a:t>
            </a:r>
          </a:p>
        </p:txBody>
      </p:sp>
      <p:sp>
        <p:nvSpPr>
          <p:cNvPr id="12" name="Rechteck 11"/>
          <p:cNvSpPr/>
          <p:nvPr>
            <p:custDataLst>
              <p:tags r:id="rId10"/>
            </p:custDataLst>
          </p:nvPr>
        </p:nvSpPr>
        <p:spPr bwMode="gray">
          <a:xfrm>
            <a:off x="5796136" y="1196754"/>
            <a:ext cx="1080120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2</a:t>
            </a:r>
          </a:p>
        </p:txBody>
      </p:sp>
      <p:sp>
        <p:nvSpPr>
          <p:cNvPr id="13" name="Rechteck 12"/>
          <p:cNvSpPr/>
          <p:nvPr>
            <p:custDataLst>
              <p:tags r:id="rId11"/>
            </p:custDataLst>
          </p:nvPr>
        </p:nvSpPr>
        <p:spPr bwMode="gray">
          <a:xfrm>
            <a:off x="6876256" y="1196754"/>
            <a:ext cx="1080120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3</a:t>
            </a:r>
          </a:p>
        </p:txBody>
      </p:sp>
      <p:cxnSp>
        <p:nvCxnSpPr>
          <p:cNvPr id="16" name="Gerade Verbindung 15"/>
          <p:cNvCxnSpPr/>
          <p:nvPr>
            <p:custDataLst>
              <p:tags r:id="rId12"/>
            </p:custDataLst>
          </p:nvPr>
        </p:nvCxnSpPr>
        <p:spPr>
          <a:xfrm rot="5400000">
            <a:off x="2195896" y="2637299"/>
            <a:ext cx="2880000" cy="0"/>
          </a:xfrm>
          <a:prstGeom prst="line">
            <a:avLst/>
          </a:prstGeom>
          <a:ln w="1270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hteck 16"/>
          <p:cNvSpPr/>
          <p:nvPr>
            <p:custDataLst>
              <p:tags r:id="rId13"/>
            </p:custDataLst>
          </p:nvPr>
        </p:nvSpPr>
        <p:spPr bwMode="gray">
          <a:xfrm rot="16200000">
            <a:off x="-162441" y="3258000"/>
            <a:ext cx="828000" cy="287954"/>
          </a:xfrm>
          <a:prstGeom prst="rect">
            <a:avLst/>
          </a:prstGeom>
          <a:gradFill flip="none" rotWithShape="1">
            <a:gsLst>
              <a:gs pos="30000">
                <a:schemeClr val="tx2"/>
              </a:gs>
              <a:gs pos="100000">
                <a:schemeClr val="tx2">
                  <a:lumMod val="60000"/>
                  <a:lumOff val="40000"/>
                </a:schemeClr>
              </a:gs>
            </a:gsLst>
            <a:lin ang="16200000" scaled="1"/>
            <a:tileRect/>
          </a:gra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90000" bIns="46800" rtlCol="0" anchor="ctr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5C5D"/>
              </a:buClr>
            </a:pPr>
            <a:endParaRPr kumimoji="0" lang="en-US" sz="1200" dirty="0" smtClean="0">
              <a:solidFill>
                <a:srgbClr val="FFFFFF"/>
              </a:solidFill>
            </a:endParaRPr>
          </a:p>
        </p:txBody>
      </p:sp>
      <p:sp>
        <p:nvSpPr>
          <p:cNvPr id="18" name="Rechteck 17"/>
          <p:cNvSpPr/>
          <p:nvPr>
            <p:custDataLst>
              <p:tags r:id="rId14"/>
            </p:custDataLst>
          </p:nvPr>
        </p:nvSpPr>
        <p:spPr bwMode="gray">
          <a:xfrm>
            <a:off x="7956376" y="1196752"/>
            <a:ext cx="107967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4</a:t>
            </a:r>
          </a:p>
        </p:txBody>
      </p:sp>
      <p:cxnSp>
        <p:nvCxnSpPr>
          <p:cNvPr id="19" name="Gerade Verbindung 18"/>
          <p:cNvCxnSpPr/>
          <p:nvPr>
            <p:custDataLst>
              <p:tags r:id="rId15"/>
            </p:custDataLst>
          </p:nvPr>
        </p:nvCxnSpPr>
        <p:spPr>
          <a:xfrm rot="5400000">
            <a:off x="6516376" y="2637299"/>
            <a:ext cx="2880000" cy="0"/>
          </a:xfrm>
          <a:prstGeom prst="line">
            <a:avLst/>
          </a:prstGeom>
          <a:ln w="1270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>
            <p:custDataLst>
              <p:tags r:id="rId16"/>
            </p:custDataLst>
          </p:nvPr>
        </p:nvCxnSpPr>
        <p:spPr>
          <a:xfrm rot="5400000">
            <a:off x="5436256" y="2637299"/>
            <a:ext cx="2880000" cy="0"/>
          </a:xfrm>
          <a:prstGeom prst="line">
            <a:avLst/>
          </a:prstGeom>
          <a:ln w="1270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>
            <p:custDataLst>
              <p:tags r:id="rId17"/>
            </p:custDataLst>
          </p:nvPr>
        </p:nvCxnSpPr>
        <p:spPr>
          <a:xfrm rot="5400000">
            <a:off x="1115776" y="2637299"/>
            <a:ext cx="2880000" cy="0"/>
          </a:xfrm>
          <a:prstGeom prst="line">
            <a:avLst/>
          </a:prstGeom>
          <a:ln w="1270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>
            <p:custDataLst>
              <p:tags r:id="rId18"/>
            </p:custDataLst>
          </p:nvPr>
        </p:nvCxnSpPr>
        <p:spPr>
          <a:xfrm flipH="1">
            <a:off x="1470212" y="1197299"/>
            <a:ext cx="5444" cy="2854748"/>
          </a:xfrm>
          <a:prstGeom prst="line">
            <a:avLst/>
          </a:prstGeom>
          <a:ln w="1270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>
            <p:custDataLst>
              <p:tags r:id="rId19"/>
            </p:custDataLst>
          </p:nvPr>
        </p:nvCxnSpPr>
        <p:spPr>
          <a:xfrm>
            <a:off x="5796136" y="1197299"/>
            <a:ext cx="8511" cy="2868195"/>
          </a:xfrm>
          <a:prstGeom prst="line">
            <a:avLst/>
          </a:prstGeom>
          <a:ln w="1270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hteck 23"/>
          <p:cNvSpPr/>
          <p:nvPr>
            <p:custDataLst>
              <p:tags r:id="rId20"/>
            </p:custDataLst>
          </p:nvPr>
        </p:nvSpPr>
        <p:spPr bwMode="gray">
          <a:xfrm>
            <a:off x="395536" y="1196752"/>
            <a:ext cx="360040" cy="2628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25" name="Rechteck 24"/>
          <p:cNvSpPr/>
          <p:nvPr>
            <p:custDataLst>
              <p:tags r:id="rId21"/>
            </p:custDataLst>
          </p:nvPr>
        </p:nvSpPr>
        <p:spPr bwMode="gray">
          <a:xfrm>
            <a:off x="755576" y="1196752"/>
            <a:ext cx="360040" cy="2628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26" name="Rechteck 25"/>
          <p:cNvSpPr/>
          <p:nvPr>
            <p:custDataLst>
              <p:tags r:id="rId22"/>
            </p:custDataLst>
          </p:nvPr>
        </p:nvSpPr>
        <p:spPr bwMode="gray">
          <a:xfrm>
            <a:off x="1115616" y="1196752"/>
            <a:ext cx="360040" cy="2628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27" name="Rechteck 26"/>
          <p:cNvSpPr/>
          <p:nvPr>
            <p:custDataLst>
              <p:tags r:id="rId23"/>
            </p:custDataLst>
          </p:nvPr>
        </p:nvSpPr>
        <p:spPr bwMode="gray">
          <a:xfrm>
            <a:off x="1475656" y="1196752"/>
            <a:ext cx="360040" cy="2628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28" name="Rechteck 27"/>
          <p:cNvSpPr/>
          <p:nvPr>
            <p:custDataLst>
              <p:tags r:id="rId24"/>
            </p:custDataLst>
          </p:nvPr>
        </p:nvSpPr>
        <p:spPr bwMode="gray">
          <a:xfrm>
            <a:off x="1835696" y="1196752"/>
            <a:ext cx="360040" cy="2628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29" name="Rechteck 28"/>
          <p:cNvSpPr/>
          <p:nvPr>
            <p:custDataLst>
              <p:tags r:id="rId25"/>
            </p:custDataLst>
          </p:nvPr>
        </p:nvSpPr>
        <p:spPr bwMode="gray">
          <a:xfrm>
            <a:off x="2195736" y="1196752"/>
            <a:ext cx="360040" cy="2628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0" name="Rechteck 29"/>
          <p:cNvSpPr/>
          <p:nvPr>
            <p:custDataLst>
              <p:tags r:id="rId26"/>
            </p:custDataLst>
          </p:nvPr>
        </p:nvSpPr>
        <p:spPr bwMode="gray">
          <a:xfrm>
            <a:off x="2555776" y="1196752"/>
            <a:ext cx="360040" cy="2628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1" name="Rechteck 30"/>
          <p:cNvSpPr/>
          <p:nvPr>
            <p:custDataLst>
              <p:tags r:id="rId27"/>
            </p:custDataLst>
          </p:nvPr>
        </p:nvSpPr>
        <p:spPr bwMode="gray">
          <a:xfrm>
            <a:off x="2915816" y="1196752"/>
            <a:ext cx="360040" cy="2628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2" name="Rechteck 31"/>
          <p:cNvSpPr/>
          <p:nvPr>
            <p:custDataLst>
              <p:tags r:id="rId28"/>
            </p:custDataLst>
          </p:nvPr>
        </p:nvSpPr>
        <p:spPr bwMode="gray">
          <a:xfrm>
            <a:off x="3275856" y="1196752"/>
            <a:ext cx="360040" cy="2628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3" name="Rechteck 32"/>
          <p:cNvSpPr/>
          <p:nvPr>
            <p:custDataLst>
              <p:tags r:id="rId29"/>
            </p:custDataLst>
          </p:nvPr>
        </p:nvSpPr>
        <p:spPr bwMode="gray">
          <a:xfrm>
            <a:off x="3635896" y="1196752"/>
            <a:ext cx="360040" cy="2628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4" name="Rechteck 33"/>
          <p:cNvSpPr/>
          <p:nvPr>
            <p:custDataLst>
              <p:tags r:id="rId30"/>
            </p:custDataLst>
          </p:nvPr>
        </p:nvSpPr>
        <p:spPr bwMode="gray">
          <a:xfrm>
            <a:off x="3995936" y="1196752"/>
            <a:ext cx="360040" cy="2628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5" name="Rechteck 34"/>
          <p:cNvSpPr/>
          <p:nvPr>
            <p:custDataLst>
              <p:tags r:id="rId31"/>
            </p:custDataLst>
          </p:nvPr>
        </p:nvSpPr>
        <p:spPr bwMode="gray">
          <a:xfrm>
            <a:off x="4355976" y="1196752"/>
            <a:ext cx="360040" cy="2628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6" name="Rechteck 35"/>
          <p:cNvSpPr/>
          <p:nvPr>
            <p:custDataLst>
              <p:tags r:id="rId32"/>
            </p:custDataLst>
          </p:nvPr>
        </p:nvSpPr>
        <p:spPr bwMode="gray">
          <a:xfrm>
            <a:off x="4716016" y="1196752"/>
            <a:ext cx="360040" cy="2628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7" name="Rechteck 36"/>
          <p:cNvSpPr/>
          <p:nvPr>
            <p:custDataLst>
              <p:tags r:id="rId33"/>
            </p:custDataLst>
          </p:nvPr>
        </p:nvSpPr>
        <p:spPr bwMode="gray">
          <a:xfrm>
            <a:off x="5076056" y="1196752"/>
            <a:ext cx="360040" cy="2628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8" name="Rechteck 37"/>
          <p:cNvSpPr/>
          <p:nvPr>
            <p:custDataLst>
              <p:tags r:id="rId34"/>
            </p:custDataLst>
          </p:nvPr>
        </p:nvSpPr>
        <p:spPr bwMode="gray">
          <a:xfrm>
            <a:off x="5436096" y="1196752"/>
            <a:ext cx="360040" cy="2628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9" name="Rechteck 38"/>
          <p:cNvSpPr/>
          <p:nvPr>
            <p:custDataLst>
              <p:tags r:id="rId35"/>
            </p:custDataLst>
          </p:nvPr>
        </p:nvSpPr>
        <p:spPr bwMode="gray">
          <a:xfrm>
            <a:off x="5796136" y="1196752"/>
            <a:ext cx="360040" cy="2628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40" name="Rechteck 39"/>
          <p:cNvSpPr/>
          <p:nvPr>
            <p:custDataLst>
              <p:tags r:id="rId36"/>
            </p:custDataLst>
          </p:nvPr>
        </p:nvSpPr>
        <p:spPr bwMode="gray">
          <a:xfrm>
            <a:off x="6156176" y="1196752"/>
            <a:ext cx="360040" cy="2628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41" name="Rechteck 40"/>
          <p:cNvSpPr/>
          <p:nvPr>
            <p:custDataLst>
              <p:tags r:id="rId37"/>
            </p:custDataLst>
          </p:nvPr>
        </p:nvSpPr>
        <p:spPr bwMode="gray">
          <a:xfrm>
            <a:off x="6516216" y="1196752"/>
            <a:ext cx="360040" cy="2628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42" name="Rechteck 41"/>
          <p:cNvSpPr/>
          <p:nvPr>
            <p:custDataLst>
              <p:tags r:id="rId38"/>
            </p:custDataLst>
          </p:nvPr>
        </p:nvSpPr>
        <p:spPr bwMode="gray">
          <a:xfrm>
            <a:off x="6876256" y="1196752"/>
            <a:ext cx="360040" cy="2628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43" name="Rechteck 42"/>
          <p:cNvSpPr/>
          <p:nvPr>
            <p:custDataLst>
              <p:tags r:id="rId39"/>
            </p:custDataLst>
          </p:nvPr>
        </p:nvSpPr>
        <p:spPr bwMode="gray">
          <a:xfrm>
            <a:off x="7236296" y="1196752"/>
            <a:ext cx="360040" cy="2628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44" name="Rechteck 43"/>
          <p:cNvSpPr/>
          <p:nvPr>
            <p:custDataLst>
              <p:tags r:id="rId40"/>
            </p:custDataLst>
          </p:nvPr>
        </p:nvSpPr>
        <p:spPr bwMode="gray">
          <a:xfrm>
            <a:off x="7596336" y="1196752"/>
            <a:ext cx="360040" cy="2628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45" name="Rechteck 44"/>
          <p:cNvSpPr/>
          <p:nvPr>
            <p:custDataLst>
              <p:tags r:id="rId41"/>
            </p:custDataLst>
          </p:nvPr>
        </p:nvSpPr>
        <p:spPr bwMode="gray">
          <a:xfrm>
            <a:off x="7956376" y="1196752"/>
            <a:ext cx="360040" cy="2628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46" name="Rechteck 45"/>
          <p:cNvSpPr/>
          <p:nvPr>
            <p:custDataLst>
              <p:tags r:id="rId42"/>
            </p:custDataLst>
          </p:nvPr>
        </p:nvSpPr>
        <p:spPr bwMode="gray">
          <a:xfrm>
            <a:off x="8316416" y="1196752"/>
            <a:ext cx="360040" cy="2628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47" name="Rechteck 46"/>
          <p:cNvSpPr/>
          <p:nvPr>
            <p:custDataLst>
              <p:tags r:id="rId43"/>
            </p:custDataLst>
          </p:nvPr>
        </p:nvSpPr>
        <p:spPr bwMode="gray">
          <a:xfrm>
            <a:off x="8676456" y="1196752"/>
            <a:ext cx="360040" cy="2628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cxnSp>
        <p:nvCxnSpPr>
          <p:cNvPr id="48" name="Gerade Verbindung 47"/>
          <p:cNvCxnSpPr/>
          <p:nvPr>
            <p:custDataLst>
              <p:tags r:id="rId44"/>
            </p:custDataLst>
          </p:nvPr>
        </p:nvCxnSpPr>
        <p:spPr>
          <a:xfrm flipV="1">
            <a:off x="1470212" y="1196752"/>
            <a:ext cx="5444" cy="2873224"/>
          </a:xfrm>
          <a:prstGeom prst="line">
            <a:avLst/>
          </a:prstGeom>
          <a:ln w="1270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 Verbindung 48"/>
          <p:cNvCxnSpPr/>
          <p:nvPr>
            <p:custDataLst>
              <p:tags r:id="rId45"/>
            </p:custDataLst>
          </p:nvPr>
        </p:nvCxnSpPr>
        <p:spPr>
          <a:xfrm rot="5400000" flipH="1" flipV="1">
            <a:off x="1115776" y="2636752"/>
            <a:ext cx="2880000" cy="0"/>
          </a:xfrm>
          <a:prstGeom prst="line">
            <a:avLst/>
          </a:prstGeom>
          <a:ln w="1270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49"/>
          <p:cNvCxnSpPr/>
          <p:nvPr>
            <p:custDataLst>
              <p:tags r:id="rId46"/>
            </p:custDataLst>
          </p:nvPr>
        </p:nvCxnSpPr>
        <p:spPr>
          <a:xfrm rot="5400000" flipH="1" flipV="1">
            <a:off x="2195896" y="2636752"/>
            <a:ext cx="2880000" cy="0"/>
          </a:xfrm>
          <a:prstGeom prst="line">
            <a:avLst/>
          </a:prstGeom>
          <a:ln w="1270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rade Verbindung 51"/>
          <p:cNvCxnSpPr/>
          <p:nvPr>
            <p:custDataLst>
              <p:tags r:id="rId47"/>
            </p:custDataLst>
          </p:nvPr>
        </p:nvCxnSpPr>
        <p:spPr>
          <a:xfrm rot="5400000" flipH="1" flipV="1">
            <a:off x="5436256" y="2636752"/>
            <a:ext cx="2880000" cy="0"/>
          </a:xfrm>
          <a:prstGeom prst="line">
            <a:avLst/>
          </a:prstGeom>
          <a:ln w="1270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 Verbindung 52"/>
          <p:cNvCxnSpPr/>
          <p:nvPr>
            <p:custDataLst>
              <p:tags r:id="rId48"/>
            </p:custDataLst>
          </p:nvPr>
        </p:nvCxnSpPr>
        <p:spPr>
          <a:xfrm rot="5400000" flipH="1" flipV="1">
            <a:off x="6516376" y="2636752"/>
            <a:ext cx="2880000" cy="0"/>
          </a:xfrm>
          <a:prstGeom prst="line">
            <a:avLst/>
          </a:prstGeom>
          <a:ln w="1270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 Placeholder 8"/>
          <p:cNvSpPr>
            <a:spLocks noGrp="1"/>
          </p:cNvSpPr>
          <p:nvPr>
            <p:ph type="body" sz="quarter" idx="19" hasCustomPrompt="1"/>
            <p:custDataLst>
              <p:tags r:id="rId49"/>
            </p:custDataLst>
          </p:nvPr>
        </p:nvSpPr>
        <p:spPr bwMode="gray">
          <a:xfrm rot="16200000">
            <a:off x="-167467" y="3257884"/>
            <a:ext cx="838200" cy="287804"/>
          </a:xfrm>
        </p:spPr>
        <p:txBody>
          <a:bodyPr vert="horz" lIns="90000" tIns="0" rIns="90000" bIns="0" rtlCol="0" anchor="ctr" anchorCtr="0">
            <a:noAutofit/>
          </a:bodyPr>
          <a:lstStyle>
            <a:lvl1pPr>
              <a:buNone/>
              <a:defRPr lang="en-US" sz="12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516"/>
              </a:spcBef>
              <a:spcAft>
                <a:spcPts val="288"/>
              </a:spcAft>
              <a:buClr>
                <a:schemeClr val="accent2"/>
              </a:buClr>
              <a:buFont typeface="Wingdings" pitchFamily="2" charset="2"/>
              <a:buNone/>
            </a:pPr>
            <a:r>
              <a:rPr lang="en-US" dirty="0" smtClean="0"/>
              <a:t>Xxx</a:t>
            </a:r>
          </a:p>
        </p:txBody>
      </p:sp>
      <p:sp>
        <p:nvSpPr>
          <p:cNvPr id="71" name="Rectangle 241"/>
          <p:cNvSpPr>
            <a:spLocks noChangeArrowheads="1"/>
          </p:cNvSpPr>
          <p:nvPr/>
        </p:nvSpPr>
        <p:spPr bwMode="gray">
          <a:xfrm>
            <a:off x="180229" y="4731543"/>
            <a:ext cx="8784383" cy="1444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90000" tIns="46800" rIns="90000" bIns="46800" anchor="ctr" anchorCtr="0">
            <a:noAutofit/>
          </a:bodyPr>
          <a:lstStyle/>
          <a:p>
            <a:pPr algn="l" defTabSz="74295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ja-JP" sz="800" kern="0" dirty="0" smtClean="0">
                <a:solidFill>
                  <a:sysClr val="windowText" lastClr="000000"/>
                </a:solidFill>
                <a:latin typeface="Arial"/>
                <a:ea typeface="+mn-ea"/>
              </a:rPr>
              <a:t>All dates are subject to change </a:t>
            </a:r>
          </a:p>
        </p:txBody>
      </p:sp>
      <p:sp>
        <p:nvSpPr>
          <p:cNvPr id="108" name="Text Placeholder 8"/>
          <p:cNvSpPr>
            <a:spLocks noGrp="1"/>
          </p:cNvSpPr>
          <p:nvPr>
            <p:ph type="body" sz="quarter" idx="21" hasCustomPrompt="1"/>
            <p:custDataLst>
              <p:tags r:id="rId50"/>
            </p:custDataLst>
          </p:nvPr>
        </p:nvSpPr>
        <p:spPr bwMode="gray">
          <a:xfrm rot="16200000">
            <a:off x="-162000" y="2376000"/>
            <a:ext cx="828000" cy="287804"/>
          </a:xfrm>
        </p:spPr>
        <p:txBody>
          <a:bodyPr vert="horz" lIns="90000" tIns="0" rIns="90000" bIns="0" rtlCol="0" anchor="ctr" anchorCtr="0">
            <a:noAutofit/>
          </a:bodyPr>
          <a:lstStyle>
            <a:lvl1pPr>
              <a:buNone/>
              <a:defRPr lang="en-US" sz="12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516"/>
              </a:spcBef>
              <a:spcAft>
                <a:spcPts val="288"/>
              </a:spcAft>
              <a:buClr>
                <a:schemeClr val="accent2"/>
              </a:buClr>
              <a:buFont typeface="Wingdings" pitchFamily="2" charset="2"/>
              <a:buNone/>
            </a:pPr>
            <a:r>
              <a:rPr lang="en-US" dirty="0" smtClean="0"/>
              <a:t>Xxx</a:t>
            </a:r>
          </a:p>
        </p:txBody>
      </p:sp>
      <p:sp>
        <p:nvSpPr>
          <p:cNvPr id="109" name="Rechteck 108"/>
          <p:cNvSpPr/>
          <p:nvPr>
            <p:custDataLst>
              <p:tags r:id="rId51"/>
            </p:custDataLst>
          </p:nvPr>
        </p:nvSpPr>
        <p:spPr bwMode="gray">
          <a:xfrm rot="16200000">
            <a:off x="-162000" y="2376000"/>
            <a:ext cx="828000" cy="287954"/>
          </a:xfrm>
          <a:prstGeom prst="rect">
            <a:avLst/>
          </a:prstGeom>
          <a:gradFill flip="none" rotWithShape="1">
            <a:gsLst>
              <a:gs pos="30000">
                <a:schemeClr val="tx2"/>
              </a:gs>
              <a:gs pos="100000">
                <a:schemeClr val="tx2">
                  <a:lumMod val="60000"/>
                  <a:lumOff val="40000"/>
                </a:schemeClr>
              </a:gs>
            </a:gsLst>
            <a:lin ang="16200000" scaled="1"/>
            <a:tileRect/>
          </a:gra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90000" bIns="46800" rtlCol="0" anchor="ctr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5C5D"/>
              </a:buClr>
            </a:pPr>
            <a:r>
              <a:rPr kumimoji="0" lang="en-US" sz="1200" dirty="0" smtClean="0">
                <a:solidFill>
                  <a:srgbClr val="FFFFFF"/>
                </a:solidFill>
              </a:rPr>
              <a:t>Xxx</a:t>
            </a:r>
          </a:p>
        </p:txBody>
      </p:sp>
      <p:sp>
        <p:nvSpPr>
          <p:cNvPr id="110" name="Rechteck 109"/>
          <p:cNvSpPr/>
          <p:nvPr>
            <p:custDataLst>
              <p:tags r:id="rId52"/>
            </p:custDataLst>
          </p:nvPr>
        </p:nvSpPr>
        <p:spPr bwMode="gray">
          <a:xfrm rot="16200000">
            <a:off x="-162000" y="1476000"/>
            <a:ext cx="828000" cy="287954"/>
          </a:xfrm>
          <a:prstGeom prst="rect">
            <a:avLst/>
          </a:prstGeom>
          <a:gradFill flip="none" rotWithShape="1">
            <a:gsLst>
              <a:gs pos="30000">
                <a:schemeClr val="tx2"/>
              </a:gs>
              <a:gs pos="100000">
                <a:schemeClr val="tx2">
                  <a:lumMod val="60000"/>
                  <a:lumOff val="40000"/>
                </a:schemeClr>
              </a:gs>
            </a:gsLst>
            <a:lin ang="16200000" scaled="1"/>
            <a:tileRect/>
          </a:gra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90000" bIns="46800" rtlCol="0" anchor="ctr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5C5D"/>
              </a:buClr>
            </a:pPr>
            <a:endParaRPr kumimoji="0" lang="en-US" sz="1200" dirty="0" smtClean="0">
              <a:solidFill>
                <a:srgbClr val="FFFFFF"/>
              </a:solidFill>
            </a:endParaRPr>
          </a:p>
        </p:txBody>
      </p:sp>
      <p:sp>
        <p:nvSpPr>
          <p:cNvPr id="111" name="Text Placeholder 8"/>
          <p:cNvSpPr>
            <a:spLocks noGrp="1"/>
          </p:cNvSpPr>
          <p:nvPr>
            <p:ph type="body" sz="quarter" idx="22" hasCustomPrompt="1"/>
            <p:custDataLst>
              <p:tags r:id="rId53"/>
            </p:custDataLst>
          </p:nvPr>
        </p:nvSpPr>
        <p:spPr bwMode="gray">
          <a:xfrm rot="16200000">
            <a:off x="-162000" y="1476000"/>
            <a:ext cx="828000" cy="287804"/>
          </a:xfrm>
        </p:spPr>
        <p:txBody>
          <a:bodyPr vert="horz" lIns="90000" tIns="0" rIns="90000" bIns="0" rtlCol="0" anchor="ctr" anchorCtr="0">
            <a:noAutofit/>
          </a:bodyPr>
          <a:lstStyle>
            <a:lvl1pPr>
              <a:buNone/>
              <a:defRPr lang="en-US" sz="12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516"/>
              </a:spcBef>
              <a:spcAft>
                <a:spcPts val="288"/>
              </a:spcAft>
              <a:buClr>
                <a:schemeClr val="accent2"/>
              </a:buClr>
              <a:buFont typeface="Wingdings" pitchFamily="2" charset="2"/>
              <a:buNone/>
            </a:pPr>
            <a:r>
              <a:rPr lang="en-US" dirty="0" smtClean="0"/>
              <a:t>Xxx</a:t>
            </a:r>
          </a:p>
        </p:txBody>
      </p:sp>
      <p:cxnSp>
        <p:nvCxnSpPr>
          <p:cNvPr id="75" name="Gerade Verbindung 74"/>
          <p:cNvCxnSpPr/>
          <p:nvPr>
            <p:custDataLst>
              <p:tags r:id="rId54"/>
            </p:custDataLst>
          </p:nvPr>
        </p:nvCxnSpPr>
        <p:spPr>
          <a:xfrm rot="5400000" flipH="1" flipV="1">
            <a:off x="3273581" y="2625871"/>
            <a:ext cx="2880000" cy="0"/>
          </a:xfrm>
          <a:prstGeom prst="line">
            <a:avLst/>
          </a:prstGeom>
          <a:ln w="1270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Text Placeholder 8"/>
          <p:cNvSpPr>
            <a:spLocks noGrp="1"/>
          </p:cNvSpPr>
          <p:nvPr>
            <p:ph type="body" sz="quarter" idx="23" hasCustomPrompt="1"/>
            <p:custDataLst>
              <p:tags r:id="rId55"/>
            </p:custDataLst>
          </p:nvPr>
        </p:nvSpPr>
        <p:spPr bwMode="gray">
          <a:xfrm>
            <a:off x="387658" y="4069731"/>
            <a:ext cx="4325923" cy="278728"/>
          </a:xfrm>
        </p:spPr>
        <p:txBody>
          <a:bodyPr lIns="90000" rIns="90000" anchor="ctr" anchorCtr="0"/>
          <a:lstStyle>
            <a:lvl1pPr algn="ctr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2016</a:t>
            </a:r>
          </a:p>
        </p:txBody>
      </p:sp>
      <p:sp>
        <p:nvSpPr>
          <p:cNvPr id="78" name="Text Placeholder 8"/>
          <p:cNvSpPr>
            <a:spLocks noGrp="1"/>
          </p:cNvSpPr>
          <p:nvPr>
            <p:ph type="body" sz="quarter" idx="24" hasCustomPrompt="1"/>
            <p:custDataLst>
              <p:tags r:id="rId56"/>
            </p:custDataLst>
          </p:nvPr>
        </p:nvSpPr>
        <p:spPr bwMode="gray">
          <a:xfrm>
            <a:off x="4725787" y="4065494"/>
            <a:ext cx="4307794" cy="288032"/>
          </a:xfrm>
        </p:spPr>
        <p:txBody>
          <a:bodyPr lIns="90000" rIns="90000" anchor="ctr" anchorCtr="0"/>
          <a:lstStyle>
            <a:lvl1pPr algn="ctr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2017</a:t>
            </a:r>
          </a:p>
        </p:txBody>
      </p:sp>
      <p:sp>
        <p:nvSpPr>
          <p:cNvPr id="79" name="Rechteck 78"/>
          <p:cNvSpPr/>
          <p:nvPr>
            <p:custDataLst>
              <p:tags r:id="rId57"/>
            </p:custDataLst>
          </p:nvPr>
        </p:nvSpPr>
        <p:spPr bwMode="gray">
          <a:xfrm>
            <a:off x="4725787" y="1196748"/>
            <a:ext cx="4307794" cy="3168000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200" b="1" dirty="0" smtClean="0">
              <a:solidFill>
                <a:srgbClr val="000000"/>
              </a:solidFill>
            </a:endParaRPr>
          </a:p>
        </p:txBody>
      </p:sp>
      <p:sp>
        <p:nvSpPr>
          <p:cNvPr id="81" name="Rechteck 80"/>
          <p:cNvSpPr/>
          <p:nvPr>
            <p:custDataLst>
              <p:tags r:id="rId58"/>
            </p:custDataLst>
          </p:nvPr>
        </p:nvSpPr>
        <p:spPr bwMode="gray">
          <a:xfrm>
            <a:off x="395977" y="1185871"/>
            <a:ext cx="4321562" cy="3176752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200" b="1" dirty="0" smtClean="0">
              <a:solidFill>
                <a:srgbClr val="000000"/>
              </a:solidFill>
            </a:endParaRPr>
          </a:p>
        </p:txBody>
      </p:sp>
      <p:sp>
        <p:nvSpPr>
          <p:cNvPr id="76" name="Rectangle 242"/>
          <p:cNvSpPr>
            <a:spLocks noChangeArrowheads="1"/>
          </p:cNvSpPr>
          <p:nvPr userDrawn="1"/>
        </p:nvSpPr>
        <p:spPr bwMode="gray">
          <a:xfrm>
            <a:off x="4067944" y="4588568"/>
            <a:ext cx="288032" cy="144463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tx2"/>
            </a:solidFill>
            <a:prstDash val="solid"/>
            <a:headEnd type="none" w="med" len="med"/>
            <a:tailEnd type="none" w="med" len="med"/>
          </a:ln>
          <a:effectLst/>
        </p:spPr>
        <p:txBody>
          <a:bodyPr wrap="square" lIns="90000" tIns="46800" rIns="90000" bIns="46800" anchor="ctr"/>
          <a:lstStyle/>
          <a:p>
            <a:pPr algn="l">
              <a:spcBef>
                <a:spcPts val="0"/>
              </a:spcBef>
              <a:spcAft>
                <a:spcPts val="0"/>
              </a:spcAft>
              <a:defRPr/>
            </a:pPr>
            <a:endParaRPr kumimoji="0" lang="en-US" altLang="ja-JP" sz="1100" b="1" kern="0">
              <a:latin typeface="Arial"/>
              <a:cs typeface="Arial"/>
            </a:endParaRPr>
          </a:p>
        </p:txBody>
      </p:sp>
      <p:sp>
        <p:nvSpPr>
          <p:cNvPr id="80" name="Rectangle 246"/>
          <p:cNvSpPr>
            <a:spLocks noChangeArrowheads="1"/>
          </p:cNvSpPr>
          <p:nvPr userDrawn="1"/>
        </p:nvSpPr>
        <p:spPr bwMode="gray">
          <a:xfrm>
            <a:off x="1691680" y="4588569"/>
            <a:ext cx="288032" cy="144462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75000"/>
                </a:schemeClr>
              </a:gs>
              <a:gs pos="50000">
                <a:schemeClr val="bg1">
                  <a:lumMod val="75000"/>
                </a:schemeClr>
              </a:gs>
              <a:gs pos="100000">
                <a:schemeClr val="bg2">
                  <a:shade val="100000"/>
                  <a:satMod val="115000"/>
                </a:schemeClr>
              </a:gs>
            </a:gsLst>
            <a:lin ang="5400000" scaled="1"/>
            <a:tileRect/>
          </a:gra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wrap="square" lIns="90000" tIns="46800" rIns="90000" bIns="46800" anchor="ctr"/>
          <a:lstStyle/>
          <a:p>
            <a:pPr algn="l" eaLnBrk="0" hangingPunct="0">
              <a:spcBef>
                <a:spcPts val="0"/>
              </a:spcBef>
              <a:spcAft>
                <a:spcPts val="0"/>
              </a:spcAft>
            </a:pPr>
            <a:endParaRPr kumimoji="0" lang="en-US" altLang="ja-JP" sz="1100" b="1" kern="0">
              <a:solidFill>
                <a:srgbClr val="FFFFFF"/>
              </a:solidFill>
              <a:latin typeface="Arial"/>
              <a:ea typeface="+mn-ea"/>
            </a:endParaRPr>
          </a:p>
        </p:txBody>
      </p:sp>
      <p:sp>
        <p:nvSpPr>
          <p:cNvPr id="82" name="Rectangle 247"/>
          <p:cNvSpPr>
            <a:spLocks noChangeArrowheads="1"/>
          </p:cNvSpPr>
          <p:nvPr userDrawn="1"/>
        </p:nvSpPr>
        <p:spPr bwMode="gray">
          <a:xfrm>
            <a:off x="1979712" y="4588568"/>
            <a:ext cx="1557338" cy="1444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90000" tIns="46800" rIns="90000" bIns="46800" anchor="ctr" anchorCtr="0">
            <a:noAutofit/>
          </a:bodyPr>
          <a:lstStyle/>
          <a:p>
            <a:pPr algn="l" defTabSz="74295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ja-JP" sz="900" kern="0" dirty="0" smtClean="0">
                <a:solidFill>
                  <a:sysClr val="windowText" lastClr="000000"/>
                </a:solidFill>
                <a:latin typeface="Arial"/>
                <a:ea typeface="+mn-ea"/>
              </a:rPr>
              <a:t>EOL as long as stock lasts</a:t>
            </a:r>
          </a:p>
        </p:txBody>
      </p:sp>
      <p:sp>
        <p:nvSpPr>
          <p:cNvPr id="83" name="Rectangle 242"/>
          <p:cNvSpPr>
            <a:spLocks noChangeArrowheads="1"/>
          </p:cNvSpPr>
          <p:nvPr userDrawn="1"/>
        </p:nvSpPr>
        <p:spPr bwMode="gray">
          <a:xfrm>
            <a:off x="1403648" y="4588568"/>
            <a:ext cx="288032" cy="144463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tx2"/>
            </a:solidFill>
            <a:prstDash val="solid"/>
            <a:headEnd type="none" w="med" len="med"/>
            <a:tailEnd type="none" w="med" len="med"/>
          </a:ln>
          <a:effectLst/>
        </p:spPr>
        <p:txBody>
          <a:bodyPr wrap="square" lIns="90000" tIns="46800" rIns="90000" bIns="46800" anchor="ctr"/>
          <a:lstStyle/>
          <a:p>
            <a:pPr algn="l">
              <a:spcBef>
                <a:spcPts val="0"/>
              </a:spcBef>
              <a:spcAft>
                <a:spcPts val="0"/>
              </a:spcAft>
              <a:defRPr/>
            </a:pPr>
            <a:endParaRPr kumimoji="0" lang="en-US" altLang="ja-JP" sz="1100" b="1" kern="0">
              <a:latin typeface="Arial"/>
              <a:cs typeface="Arial"/>
            </a:endParaRPr>
          </a:p>
        </p:txBody>
      </p:sp>
      <p:sp>
        <p:nvSpPr>
          <p:cNvPr id="84" name="Rectangle 243"/>
          <p:cNvSpPr>
            <a:spLocks noChangeArrowheads="1"/>
          </p:cNvSpPr>
          <p:nvPr userDrawn="1"/>
        </p:nvSpPr>
        <p:spPr bwMode="gray">
          <a:xfrm>
            <a:off x="4355976" y="4588568"/>
            <a:ext cx="2256284" cy="1444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90000" tIns="46800" rIns="90000" bIns="46800" anchor="ctr" anchorCtr="0">
            <a:noAutofit/>
          </a:bodyPr>
          <a:lstStyle/>
          <a:p>
            <a:pPr algn="l" defTabSz="74295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ja-JP" sz="900" kern="0" dirty="0" smtClean="0">
                <a:solidFill>
                  <a:sysClr val="windowText" lastClr="000000"/>
                </a:solidFill>
                <a:latin typeface="Arial"/>
                <a:ea typeface="+mn-ea"/>
              </a:rPr>
              <a:t>Roadmap produc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Rechteck 112"/>
          <p:cNvSpPr/>
          <p:nvPr>
            <p:custDataLst>
              <p:tags r:id="rId1"/>
            </p:custDataLst>
          </p:nvPr>
        </p:nvSpPr>
        <p:spPr bwMode="gray">
          <a:xfrm>
            <a:off x="396496" y="2624673"/>
            <a:ext cx="8640000" cy="1227327"/>
          </a:xfrm>
          <a:prstGeom prst="rect">
            <a:avLst/>
          </a:prstGeom>
          <a:gradFill flip="none" rotWithShape="1">
            <a:gsLst>
              <a:gs pos="0">
                <a:schemeClr val="bg2"/>
              </a:gs>
              <a:gs pos="100000">
                <a:schemeClr val="bg1"/>
              </a:gs>
            </a:gsLst>
            <a:path path="circle">
              <a:fillToRect r="100000" b="100000"/>
            </a:path>
            <a:tileRect l="-100000" t="-10000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t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b="1" dirty="0" smtClean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5" name="Eine Ecke des Rechtecks abrunden 4"/>
          <p:cNvSpPr/>
          <p:nvPr>
            <p:custDataLst>
              <p:tags r:id="rId2"/>
            </p:custDataLst>
          </p:nvPr>
        </p:nvSpPr>
        <p:spPr bwMode="gray">
          <a:xfrm>
            <a:off x="395536" y="936000"/>
            <a:ext cx="8640514" cy="576000"/>
          </a:xfrm>
          <a:prstGeom prst="round1Rect">
            <a:avLst>
              <a:gd name="adj" fmla="val 50000"/>
            </a:avLst>
          </a:prstGeom>
          <a:gradFill flip="none" rotWithShape="1">
            <a:gsLst>
              <a:gs pos="30000">
                <a:schemeClr val="tx2"/>
              </a:gs>
              <a:gs pos="100000">
                <a:schemeClr val="tx2">
                  <a:lumMod val="60000"/>
                  <a:lumOff val="40000"/>
                </a:schemeClr>
              </a:gs>
            </a:gsLst>
            <a:lin ang="16200000" scaled="1"/>
            <a:tileRect/>
          </a:gra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  <a:buClr>
                <a:srgbClr val="005C5D"/>
              </a:buClr>
              <a:buFont typeface="Wingdings" pitchFamily="2" charset="2"/>
              <a:buNone/>
            </a:pPr>
            <a:r>
              <a:rPr kumimoji="0" lang="en-US" sz="1400" dirty="0" smtClean="0">
                <a:solidFill>
                  <a:srgbClr val="FFFFFF"/>
                </a:solidFill>
              </a:rPr>
              <a:t> </a:t>
            </a:r>
          </a:p>
          <a:p>
            <a:pPr algn="l" fontAlgn="auto">
              <a:spcBef>
                <a:spcPts val="0"/>
              </a:spcBef>
              <a:spcAft>
                <a:spcPts val="0"/>
              </a:spcAft>
              <a:buClr>
                <a:srgbClr val="005C5D"/>
              </a:buClr>
              <a:buFont typeface="Wingdings" pitchFamily="2" charset="2"/>
              <a:buNone/>
            </a:pPr>
            <a:endParaRPr kumimoji="0" lang="en-US" sz="1400" dirty="0" smtClean="0">
              <a:solidFill>
                <a:srgbClr val="FFFFFF"/>
              </a:solidFill>
            </a:endParaRPr>
          </a:p>
          <a:p>
            <a:pPr algn="l" fontAlgn="auto">
              <a:spcBef>
                <a:spcPts val="0"/>
              </a:spcBef>
              <a:spcAft>
                <a:spcPts val="0"/>
              </a:spcAft>
              <a:buClr>
                <a:srgbClr val="005C5D"/>
              </a:buClr>
              <a:buFont typeface="Wingdings" pitchFamily="2" charset="2"/>
              <a:buNone/>
            </a:pPr>
            <a:endParaRPr kumimoji="0" lang="en-US" sz="1400" dirty="0" smtClean="0">
              <a:solidFill>
                <a:srgbClr val="FFFFFF"/>
              </a:solidFill>
            </a:endParaRPr>
          </a:p>
        </p:txBody>
      </p:sp>
      <p:sp>
        <p:nvSpPr>
          <p:cNvPr id="6" name="Rechteck 5"/>
          <p:cNvSpPr/>
          <p:nvPr>
            <p:custDataLst>
              <p:tags r:id="rId3"/>
            </p:custDataLst>
          </p:nvPr>
        </p:nvSpPr>
        <p:spPr bwMode="gray">
          <a:xfrm>
            <a:off x="395536" y="1196340"/>
            <a:ext cx="8640000" cy="1390612"/>
          </a:xfrm>
          <a:prstGeom prst="rect">
            <a:avLst/>
          </a:prstGeom>
          <a:gradFill flip="none" rotWithShape="1">
            <a:gsLst>
              <a:gs pos="0">
                <a:schemeClr val="bg2"/>
              </a:gs>
              <a:gs pos="100000">
                <a:schemeClr val="bg1"/>
              </a:gs>
            </a:gsLst>
            <a:path path="circle">
              <a:fillToRect r="100000" b="100000"/>
            </a:path>
            <a:tileRect l="-100000" t="-10000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t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b="1" dirty="0" smtClean="0">
              <a:solidFill>
                <a:srgbClr val="000000"/>
              </a:solidFill>
            </a:endParaRPr>
          </a:p>
        </p:txBody>
      </p:sp>
      <p:sp>
        <p:nvSpPr>
          <p:cNvPr id="7" name="Rechteck 6"/>
          <p:cNvSpPr/>
          <p:nvPr>
            <p:custDataLst>
              <p:tags r:id="rId4"/>
            </p:custDataLst>
          </p:nvPr>
        </p:nvSpPr>
        <p:spPr bwMode="gray">
          <a:xfrm>
            <a:off x="395536" y="1196754"/>
            <a:ext cx="1080120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1</a:t>
            </a:r>
          </a:p>
        </p:txBody>
      </p:sp>
      <p:sp>
        <p:nvSpPr>
          <p:cNvPr id="8" name="Rechteck 7"/>
          <p:cNvSpPr/>
          <p:nvPr>
            <p:custDataLst>
              <p:tags r:id="rId5"/>
            </p:custDataLst>
          </p:nvPr>
        </p:nvSpPr>
        <p:spPr bwMode="gray">
          <a:xfrm>
            <a:off x="1475656" y="1196754"/>
            <a:ext cx="1080120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2</a:t>
            </a:r>
          </a:p>
        </p:txBody>
      </p:sp>
      <p:sp>
        <p:nvSpPr>
          <p:cNvPr id="9" name="Rechteck 8"/>
          <p:cNvSpPr/>
          <p:nvPr>
            <p:custDataLst>
              <p:tags r:id="rId6"/>
            </p:custDataLst>
          </p:nvPr>
        </p:nvSpPr>
        <p:spPr bwMode="gray">
          <a:xfrm>
            <a:off x="2555776" y="1196754"/>
            <a:ext cx="1080120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3</a:t>
            </a:r>
          </a:p>
        </p:txBody>
      </p:sp>
      <p:sp>
        <p:nvSpPr>
          <p:cNvPr id="10" name="Rechteck 9"/>
          <p:cNvSpPr/>
          <p:nvPr>
            <p:custDataLst>
              <p:tags r:id="rId7"/>
            </p:custDataLst>
          </p:nvPr>
        </p:nvSpPr>
        <p:spPr bwMode="gray">
          <a:xfrm>
            <a:off x="3635896" y="1196754"/>
            <a:ext cx="1080120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4</a:t>
            </a:r>
          </a:p>
        </p:txBody>
      </p:sp>
      <p:sp>
        <p:nvSpPr>
          <p:cNvPr id="11" name="Rechteck 10"/>
          <p:cNvSpPr/>
          <p:nvPr>
            <p:custDataLst>
              <p:tags r:id="rId8"/>
            </p:custDataLst>
          </p:nvPr>
        </p:nvSpPr>
        <p:spPr bwMode="gray">
          <a:xfrm>
            <a:off x="4716016" y="1196754"/>
            <a:ext cx="1080120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1</a:t>
            </a:r>
          </a:p>
        </p:txBody>
      </p:sp>
      <p:sp>
        <p:nvSpPr>
          <p:cNvPr id="12" name="Rechteck 11"/>
          <p:cNvSpPr/>
          <p:nvPr>
            <p:custDataLst>
              <p:tags r:id="rId9"/>
            </p:custDataLst>
          </p:nvPr>
        </p:nvSpPr>
        <p:spPr bwMode="gray">
          <a:xfrm>
            <a:off x="5796136" y="1196754"/>
            <a:ext cx="1080120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2</a:t>
            </a:r>
          </a:p>
        </p:txBody>
      </p:sp>
      <p:sp>
        <p:nvSpPr>
          <p:cNvPr id="13" name="Rechteck 12"/>
          <p:cNvSpPr/>
          <p:nvPr>
            <p:custDataLst>
              <p:tags r:id="rId10"/>
            </p:custDataLst>
          </p:nvPr>
        </p:nvSpPr>
        <p:spPr bwMode="gray">
          <a:xfrm>
            <a:off x="6876256" y="1196754"/>
            <a:ext cx="1080120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3</a:t>
            </a:r>
          </a:p>
        </p:txBody>
      </p:sp>
      <p:cxnSp>
        <p:nvCxnSpPr>
          <p:cNvPr id="16" name="Gerade Verbindung 15"/>
          <p:cNvCxnSpPr/>
          <p:nvPr>
            <p:custDataLst>
              <p:tags r:id="rId11"/>
            </p:custDataLst>
          </p:nvPr>
        </p:nvCxnSpPr>
        <p:spPr>
          <a:xfrm rot="5400000">
            <a:off x="2195896" y="2637299"/>
            <a:ext cx="2880000" cy="0"/>
          </a:xfrm>
          <a:prstGeom prst="line">
            <a:avLst/>
          </a:prstGeom>
          <a:ln w="1270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hteck 16"/>
          <p:cNvSpPr/>
          <p:nvPr>
            <p:custDataLst>
              <p:tags r:id="rId12"/>
            </p:custDataLst>
          </p:nvPr>
        </p:nvSpPr>
        <p:spPr bwMode="gray">
          <a:xfrm rot="16200000">
            <a:off x="-338054" y="3082388"/>
            <a:ext cx="1179225" cy="287954"/>
          </a:xfrm>
          <a:prstGeom prst="rect">
            <a:avLst/>
          </a:prstGeom>
          <a:gradFill flip="none" rotWithShape="1">
            <a:gsLst>
              <a:gs pos="30000">
                <a:schemeClr val="tx2"/>
              </a:gs>
              <a:gs pos="100000">
                <a:schemeClr val="tx2">
                  <a:lumMod val="60000"/>
                  <a:lumOff val="40000"/>
                </a:schemeClr>
              </a:gs>
            </a:gsLst>
            <a:lin ang="16200000" scaled="1"/>
            <a:tileRect/>
          </a:gra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90000" bIns="46800" rtlCol="0" anchor="ctr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5C5D"/>
              </a:buClr>
            </a:pPr>
            <a:endParaRPr kumimoji="0" lang="en-US" sz="1200" dirty="0" smtClean="0">
              <a:solidFill>
                <a:srgbClr val="FFFFFF"/>
              </a:solidFill>
            </a:endParaRPr>
          </a:p>
        </p:txBody>
      </p:sp>
      <p:sp>
        <p:nvSpPr>
          <p:cNvPr id="18" name="Rechteck 17"/>
          <p:cNvSpPr/>
          <p:nvPr>
            <p:custDataLst>
              <p:tags r:id="rId13"/>
            </p:custDataLst>
          </p:nvPr>
        </p:nvSpPr>
        <p:spPr bwMode="gray">
          <a:xfrm>
            <a:off x="7956376" y="1196752"/>
            <a:ext cx="107967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4</a:t>
            </a:r>
          </a:p>
        </p:txBody>
      </p:sp>
      <p:cxnSp>
        <p:nvCxnSpPr>
          <p:cNvPr id="19" name="Gerade Verbindung 18"/>
          <p:cNvCxnSpPr/>
          <p:nvPr>
            <p:custDataLst>
              <p:tags r:id="rId14"/>
            </p:custDataLst>
          </p:nvPr>
        </p:nvCxnSpPr>
        <p:spPr>
          <a:xfrm rot="5400000">
            <a:off x="6516376" y="2637299"/>
            <a:ext cx="2880000" cy="0"/>
          </a:xfrm>
          <a:prstGeom prst="line">
            <a:avLst/>
          </a:prstGeom>
          <a:ln w="1270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>
            <p:custDataLst>
              <p:tags r:id="rId15"/>
            </p:custDataLst>
          </p:nvPr>
        </p:nvCxnSpPr>
        <p:spPr>
          <a:xfrm rot="5400000">
            <a:off x="5436256" y="2637299"/>
            <a:ext cx="2880000" cy="0"/>
          </a:xfrm>
          <a:prstGeom prst="line">
            <a:avLst/>
          </a:prstGeom>
          <a:ln w="1270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>
            <p:custDataLst>
              <p:tags r:id="rId16"/>
            </p:custDataLst>
          </p:nvPr>
        </p:nvCxnSpPr>
        <p:spPr>
          <a:xfrm rot="5400000">
            <a:off x="1115776" y="2637299"/>
            <a:ext cx="2880000" cy="0"/>
          </a:xfrm>
          <a:prstGeom prst="line">
            <a:avLst/>
          </a:prstGeom>
          <a:ln w="1270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>
            <p:custDataLst>
              <p:tags r:id="rId17"/>
            </p:custDataLst>
          </p:nvPr>
        </p:nvCxnSpPr>
        <p:spPr>
          <a:xfrm flipH="1">
            <a:off x="1470212" y="1197299"/>
            <a:ext cx="5444" cy="2854748"/>
          </a:xfrm>
          <a:prstGeom prst="line">
            <a:avLst/>
          </a:prstGeom>
          <a:ln w="1270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>
            <p:custDataLst>
              <p:tags r:id="rId18"/>
            </p:custDataLst>
          </p:nvPr>
        </p:nvCxnSpPr>
        <p:spPr>
          <a:xfrm>
            <a:off x="5796136" y="1197299"/>
            <a:ext cx="8511" cy="2868195"/>
          </a:xfrm>
          <a:prstGeom prst="line">
            <a:avLst/>
          </a:prstGeom>
          <a:ln w="1270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hteck 23"/>
          <p:cNvSpPr/>
          <p:nvPr>
            <p:custDataLst>
              <p:tags r:id="rId19"/>
            </p:custDataLst>
          </p:nvPr>
        </p:nvSpPr>
        <p:spPr bwMode="gray">
          <a:xfrm>
            <a:off x="395536" y="1196752"/>
            <a:ext cx="360040" cy="2628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25" name="Rechteck 24"/>
          <p:cNvSpPr/>
          <p:nvPr>
            <p:custDataLst>
              <p:tags r:id="rId20"/>
            </p:custDataLst>
          </p:nvPr>
        </p:nvSpPr>
        <p:spPr bwMode="gray">
          <a:xfrm>
            <a:off x="755576" y="1196752"/>
            <a:ext cx="360040" cy="2628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26" name="Rechteck 25"/>
          <p:cNvSpPr/>
          <p:nvPr>
            <p:custDataLst>
              <p:tags r:id="rId21"/>
            </p:custDataLst>
          </p:nvPr>
        </p:nvSpPr>
        <p:spPr bwMode="gray">
          <a:xfrm>
            <a:off x="1115616" y="1196752"/>
            <a:ext cx="360040" cy="2628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27" name="Rechteck 26"/>
          <p:cNvSpPr/>
          <p:nvPr>
            <p:custDataLst>
              <p:tags r:id="rId22"/>
            </p:custDataLst>
          </p:nvPr>
        </p:nvSpPr>
        <p:spPr bwMode="gray">
          <a:xfrm>
            <a:off x="1475656" y="1196752"/>
            <a:ext cx="360040" cy="2628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28" name="Rechteck 27"/>
          <p:cNvSpPr/>
          <p:nvPr>
            <p:custDataLst>
              <p:tags r:id="rId23"/>
            </p:custDataLst>
          </p:nvPr>
        </p:nvSpPr>
        <p:spPr bwMode="gray">
          <a:xfrm>
            <a:off x="1835696" y="1196752"/>
            <a:ext cx="360040" cy="2628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29" name="Rechteck 28"/>
          <p:cNvSpPr/>
          <p:nvPr>
            <p:custDataLst>
              <p:tags r:id="rId24"/>
            </p:custDataLst>
          </p:nvPr>
        </p:nvSpPr>
        <p:spPr bwMode="gray">
          <a:xfrm>
            <a:off x="2195736" y="1196752"/>
            <a:ext cx="360040" cy="2628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0" name="Rechteck 29"/>
          <p:cNvSpPr/>
          <p:nvPr>
            <p:custDataLst>
              <p:tags r:id="rId25"/>
            </p:custDataLst>
          </p:nvPr>
        </p:nvSpPr>
        <p:spPr bwMode="gray">
          <a:xfrm>
            <a:off x="2555776" y="1196752"/>
            <a:ext cx="360040" cy="2628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1" name="Rechteck 30"/>
          <p:cNvSpPr/>
          <p:nvPr>
            <p:custDataLst>
              <p:tags r:id="rId26"/>
            </p:custDataLst>
          </p:nvPr>
        </p:nvSpPr>
        <p:spPr bwMode="gray">
          <a:xfrm>
            <a:off x="2915816" y="1196752"/>
            <a:ext cx="360040" cy="2628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2" name="Rechteck 31"/>
          <p:cNvSpPr/>
          <p:nvPr>
            <p:custDataLst>
              <p:tags r:id="rId27"/>
            </p:custDataLst>
          </p:nvPr>
        </p:nvSpPr>
        <p:spPr bwMode="gray">
          <a:xfrm>
            <a:off x="3275856" y="1196752"/>
            <a:ext cx="360040" cy="2628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3" name="Rechteck 32"/>
          <p:cNvSpPr/>
          <p:nvPr>
            <p:custDataLst>
              <p:tags r:id="rId28"/>
            </p:custDataLst>
          </p:nvPr>
        </p:nvSpPr>
        <p:spPr bwMode="gray">
          <a:xfrm>
            <a:off x="3635896" y="1196752"/>
            <a:ext cx="360040" cy="2628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4" name="Rechteck 33"/>
          <p:cNvSpPr/>
          <p:nvPr>
            <p:custDataLst>
              <p:tags r:id="rId29"/>
            </p:custDataLst>
          </p:nvPr>
        </p:nvSpPr>
        <p:spPr bwMode="gray">
          <a:xfrm>
            <a:off x="3995936" y="1196752"/>
            <a:ext cx="360040" cy="2628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5" name="Rechteck 34"/>
          <p:cNvSpPr/>
          <p:nvPr>
            <p:custDataLst>
              <p:tags r:id="rId30"/>
            </p:custDataLst>
          </p:nvPr>
        </p:nvSpPr>
        <p:spPr bwMode="gray">
          <a:xfrm>
            <a:off x="4355976" y="1196752"/>
            <a:ext cx="360040" cy="2628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6" name="Rechteck 35"/>
          <p:cNvSpPr/>
          <p:nvPr>
            <p:custDataLst>
              <p:tags r:id="rId31"/>
            </p:custDataLst>
          </p:nvPr>
        </p:nvSpPr>
        <p:spPr bwMode="gray">
          <a:xfrm>
            <a:off x="4716016" y="1196752"/>
            <a:ext cx="360040" cy="2628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7" name="Rechteck 36"/>
          <p:cNvSpPr/>
          <p:nvPr>
            <p:custDataLst>
              <p:tags r:id="rId32"/>
            </p:custDataLst>
          </p:nvPr>
        </p:nvSpPr>
        <p:spPr bwMode="gray">
          <a:xfrm>
            <a:off x="5076056" y="1196752"/>
            <a:ext cx="360040" cy="2628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8" name="Rechteck 37"/>
          <p:cNvSpPr/>
          <p:nvPr>
            <p:custDataLst>
              <p:tags r:id="rId33"/>
            </p:custDataLst>
          </p:nvPr>
        </p:nvSpPr>
        <p:spPr bwMode="gray">
          <a:xfrm>
            <a:off x="5436096" y="1196752"/>
            <a:ext cx="360040" cy="2628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9" name="Rechteck 38"/>
          <p:cNvSpPr/>
          <p:nvPr>
            <p:custDataLst>
              <p:tags r:id="rId34"/>
            </p:custDataLst>
          </p:nvPr>
        </p:nvSpPr>
        <p:spPr bwMode="gray">
          <a:xfrm>
            <a:off x="5796136" y="1196752"/>
            <a:ext cx="360040" cy="2628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40" name="Rechteck 39"/>
          <p:cNvSpPr/>
          <p:nvPr>
            <p:custDataLst>
              <p:tags r:id="rId35"/>
            </p:custDataLst>
          </p:nvPr>
        </p:nvSpPr>
        <p:spPr bwMode="gray">
          <a:xfrm>
            <a:off x="6156176" y="1196752"/>
            <a:ext cx="360040" cy="2628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41" name="Rechteck 40"/>
          <p:cNvSpPr/>
          <p:nvPr>
            <p:custDataLst>
              <p:tags r:id="rId36"/>
            </p:custDataLst>
          </p:nvPr>
        </p:nvSpPr>
        <p:spPr bwMode="gray">
          <a:xfrm>
            <a:off x="6516216" y="1196752"/>
            <a:ext cx="360040" cy="2628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42" name="Rechteck 41"/>
          <p:cNvSpPr/>
          <p:nvPr>
            <p:custDataLst>
              <p:tags r:id="rId37"/>
            </p:custDataLst>
          </p:nvPr>
        </p:nvSpPr>
        <p:spPr bwMode="gray">
          <a:xfrm>
            <a:off x="6876256" y="1196752"/>
            <a:ext cx="360040" cy="2628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43" name="Rechteck 42"/>
          <p:cNvSpPr/>
          <p:nvPr>
            <p:custDataLst>
              <p:tags r:id="rId38"/>
            </p:custDataLst>
          </p:nvPr>
        </p:nvSpPr>
        <p:spPr bwMode="gray">
          <a:xfrm>
            <a:off x="7236296" y="1196752"/>
            <a:ext cx="360040" cy="2628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44" name="Rechteck 43"/>
          <p:cNvSpPr/>
          <p:nvPr>
            <p:custDataLst>
              <p:tags r:id="rId39"/>
            </p:custDataLst>
          </p:nvPr>
        </p:nvSpPr>
        <p:spPr bwMode="gray">
          <a:xfrm>
            <a:off x="7596336" y="1196752"/>
            <a:ext cx="360040" cy="2628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45" name="Rechteck 44"/>
          <p:cNvSpPr/>
          <p:nvPr>
            <p:custDataLst>
              <p:tags r:id="rId40"/>
            </p:custDataLst>
          </p:nvPr>
        </p:nvSpPr>
        <p:spPr bwMode="gray">
          <a:xfrm>
            <a:off x="7956376" y="1196752"/>
            <a:ext cx="360040" cy="2628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46" name="Rechteck 45"/>
          <p:cNvSpPr/>
          <p:nvPr>
            <p:custDataLst>
              <p:tags r:id="rId41"/>
            </p:custDataLst>
          </p:nvPr>
        </p:nvSpPr>
        <p:spPr bwMode="gray">
          <a:xfrm>
            <a:off x="8316416" y="1196752"/>
            <a:ext cx="360040" cy="2628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47" name="Rechteck 46"/>
          <p:cNvSpPr/>
          <p:nvPr>
            <p:custDataLst>
              <p:tags r:id="rId42"/>
            </p:custDataLst>
          </p:nvPr>
        </p:nvSpPr>
        <p:spPr bwMode="gray">
          <a:xfrm>
            <a:off x="8676456" y="1196752"/>
            <a:ext cx="360040" cy="2628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cxnSp>
        <p:nvCxnSpPr>
          <p:cNvPr id="48" name="Gerade Verbindung 47"/>
          <p:cNvCxnSpPr/>
          <p:nvPr>
            <p:custDataLst>
              <p:tags r:id="rId43"/>
            </p:custDataLst>
          </p:nvPr>
        </p:nvCxnSpPr>
        <p:spPr>
          <a:xfrm flipV="1">
            <a:off x="1470212" y="1196752"/>
            <a:ext cx="5444" cy="2873224"/>
          </a:xfrm>
          <a:prstGeom prst="line">
            <a:avLst/>
          </a:prstGeom>
          <a:ln w="1270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 Verbindung 48"/>
          <p:cNvCxnSpPr/>
          <p:nvPr>
            <p:custDataLst>
              <p:tags r:id="rId44"/>
            </p:custDataLst>
          </p:nvPr>
        </p:nvCxnSpPr>
        <p:spPr>
          <a:xfrm rot="5400000" flipH="1" flipV="1">
            <a:off x="1115776" y="2636752"/>
            <a:ext cx="2880000" cy="0"/>
          </a:xfrm>
          <a:prstGeom prst="line">
            <a:avLst/>
          </a:prstGeom>
          <a:ln w="1270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49"/>
          <p:cNvCxnSpPr/>
          <p:nvPr>
            <p:custDataLst>
              <p:tags r:id="rId45"/>
            </p:custDataLst>
          </p:nvPr>
        </p:nvCxnSpPr>
        <p:spPr>
          <a:xfrm rot="5400000" flipH="1" flipV="1">
            <a:off x="2195896" y="2636752"/>
            <a:ext cx="2880000" cy="0"/>
          </a:xfrm>
          <a:prstGeom prst="line">
            <a:avLst/>
          </a:prstGeom>
          <a:ln w="1270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rade Verbindung 51"/>
          <p:cNvCxnSpPr/>
          <p:nvPr>
            <p:custDataLst>
              <p:tags r:id="rId46"/>
            </p:custDataLst>
          </p:nvPr>
        </p:nvCxnSpPr>
        <p:spPr>
          <a:xfrm rot="5400000" flipH="1" flipV="1">
            <a:off x="5436256" y="2636752"/>
            <a:ext cx="2880000" cy="0"/>
          </a:xfrm>
          <a:prstGeom prst="line">
            <a:avLst/>
          </a:prstGeom>
          <a:ln w="1270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 Verbindung 52"/>
          <p:cNvCxnSpPr/>
          <p:nvPr>
            <p:custDataLst>
              <p:tags r:id="rId47"/>
            </p:custDataLst>
          </p:nvPr>
        </p:nvCxnSpPr>
        <p:spPr>
          <a:xfrm rot="5400000" flipH="1" flipV="1">
            <a:off x="6516376" y="2636752"/>
            <a:ext cx="2880000" cy="0"/>
          </a:xfrm>
          <a:prstGeom prst="line">
            <a:avLst/>
          </a:prstGeom>
          <a:ln w="1270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 Placeholder 8"/>
          <p:cNvSpPr>
            <a:spLocks noGrp="1"/>
          </p:cNvSpPr>
          <p:nvPr>
            <p:ph type="body" sz="quarter" idx="19" hasCustomPrompt="1"/>
            <p:custDataLst>
              <p:tags r:id="rId48"/>
            </p:custDataLst>
          </p:nvPr>
        </p:nvSpPr>
        <p:spPr bwMode="gray">
          <a:xfrm rot="16200000">
            <a:off x="-340161" y="3085191"/>
            <a:ext cx="1183587" cy="287804"/>
          </a:xfrm>
        </p:spPr>
        <p:txBody>
          <a:bodyPr vert="horz" lIns="90000" tIns="0" rIns="90000" bIns="0" rtlCol="0" anchor="ctr" anchorCtr="0">
            <a:noAutofit/>
          </a:bodyPr>
          <a:lstStyle>
            <a:lvl1pPr>
              <a:buNone/>
              <a:defRPr lang="en-US" sz="12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516"/>
              </a:spcBef>
              <a:spcAft>
                <a:spcPts val="288"/>
              </a:spcAft>
              <a:buClr>
                <a:schemeClr val="accent2"/>
              </a:buClr>
              <a:buFont typeface="Wingdings" pitchFamily="2" charset="2"/>
              <a:buNone/>
            </a:pPr>
            <a:r>
              <a:rPr lang="en-US" dirty="0" smtClean="0"/>
              <a:t>Xxx</a:t>
            </a:r>
          </a:p>
        </p:txBody>
      </p:sp>
      <p:sp>
        <p:nvSpPr>
          <p:cNvPr id="71" name="Rectangle 241"/>
          <p:cNvSpPr>
            <a:spLocks noChangeArrowheads="1"/>
          </p:cNvSpPr>
          <p:nvPr/>
        </p:nvSpPr>
        <p:spPr bwMode="gray">
          <a:xfrm>
            <a:off x="180229" y="4731543"/>
            <a:ext cx="8784383" cy="1444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90000" tIns="46800" rIns="90000" bIns="46800" anchor="ctr" anchorCtr="0">
            <a:noAutofit/>
          </a:bodyPr>
          <a:lstStyle/>
          <a:p>
            <a:pPr algn="l" defTabSz="74295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ja-JP" sz="800" kern="0" dirty="0" smtClean="0">
                <a:solidFill>
                  <a:sysClr val="windowText" lastClr="000000"/>
                </a:solidFill>
                <a:latin typeface="Arial"/>
                <a:ea typeface="+mn-ea"/>
              </a:rPr>
              <a:t>All dates are subject to change </a:t>
            </a:r>
          </a:p>
        </p:txBody>
      </p:sp>
      <p:sp>
        <p:nvSpPr>
          <p:cNvPr id="110" name="Rechteck 109"/>
          <p:cNvSpPr/>
          <p:nvPr>
            <p:custDataLst>
              <p:tags r:id="rId49"/>
            </p:custDataLst>
          </p:nvPr>
        </p:nvSpPr>
        <p:spPr bwMode="gray">
          <a:xfrm rot="16200000">
            <a:off x="-438488" y="1752487"/>
            <a:ext cx="1380975" cy="287954"/>
          </a:xfrm>
          <a:prstGeom prst="rect">
            <a:avLst/>
          </a:prstGeom>
          <a:gradFill flip="none" rotWithShape="1">
            <a:gsLst>
              <a:gs pos="30000">
                <a:schemeClr val="tx2"/>
              </a:gs>
              <a:gs pos="100000">
                <a:schemeClr val="tx2">
                  <a:lumMod val="60000"/>
                  <a:lumOff val="40000"/>
                </a:schemeClr>
              </a:gs>
            </a:gsLst>
            <a:lin ang="16200000" scaled="1"/>
            <a:tileRect/>
          </a:gra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90000" bIns="46800" rtlCol="0" anchor="ctr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5C5D"/>
              </a:buClr>
            </a:pPr>
            <a:endParaRPr kumimoji="0" lang="en-US" sz="1200" dirty="0" smtClean="0">
              <a:solidFill>
                <a:srgbClr val="FFFFFF"/>
              </a:solidFill>
            </a:endParaRPr>
          </a:p>
        </p:txBody>
      </p:sp>
      <p:sp>
        <p:nvSpPr>
          <p:cNvPr id="111" name="Text Placeholder 8"/>
          <p:cNvSpPr>
            <a:spLocks noGrp="1"/>
          </p:cNvSpPr>
          <p:nvPr>
            <p:ph type="body" sz="quarter" idx="22" hasCustomPrompt="1"/>
            <p:custDataLst>
              <p:tags r:id="rId50"/>
            </p:custDataLst>
          </p:nvPr>
        </p:nvSpPr>
        <p:spPr bwMode="gray">
          <a:xfrm rot="16200000">
            <a:off x="-438525" y="1752525"/>
            <a:ext cx="1381050" cy="287804"/>
          </a:xfrm>
        </p:spPr>
        <p:txBody>
          <a:bodyPr vert="horz" lIns="90000" tIns="0" rIns="90000" bIns="0" rtlCol="0" anchor="ctr" anchorCtr="0">
            <a:noAutofit/>
          </a:bodyPr>
          <a:lstStyle>
            <a:lvl1pPr>
              <a:buNone/>
              <a:defRPr lang="en-US" sz="12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516"/>
              </a:spcBef>
              <a:spcAft>
                <a:spcPts val="288"/>
              </a:spcAft>
              <a:buClr>
                <a:schemeClr val="accent2"/>
              </a:buClr>
              <a:buFont typeface="Wingdings" pitchFamily="2" charset="2"/>
              <a:buNone/>
            </a:pPr>
            <a:r>
              <a:rPr lang="en-US" dirty="0" smtClean="0"/>
              <a:t>Xxx</a:t>
            </a:r>
          </a:p>
        </p:txBody>
      </p:sp>
      <p:cxnSp>
        <p:nvCxnSpPr>
          <p:cNvPr id="75" name="Gerade Verbindung 74"/>
          <p:cNvCxnSpPr/>
          <p:nvPr>
            <p:custDataLst>
              <p:tags r:id="rId51"/>
            </p:custDataLst>
          </p:nvPr>
        </p:nvCxnSpPr>
        <p:spPr>
          <a:xfrm rot="5400000" flipH="1" flipV="1">
            <a:off x="3273581" y="2625871"/>
            <a:ext cx="2880000" cy="0"/>
          </a:xfrm>
          <a:prstGeom prst="line">
            <a:avLst/>
          </a:prstGeom>
          <a:ln w="1270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Text Placeholder 8"/>
          <p:cNvSpPr>
            <a:spLocks noGrp="1"/>
          </p:cNvSpPr>
          <p:nvPr>
            <p:ph type="body" sz="quarter" idx="23" hasCustomPrompt="1"/>
            <p:custDataLst>
              <p:tags r:id="rId52"/>
            </p:custDataLst>
          </p:nvPr>
        </p:nvSpPr>
        <p:spPr bwMode="gray">
          <a:xfrm>
            <a:off x="396496" y="4077299"/>
            <a:ext cx="4325923" cy="278728"/>
          </a:xfrm>
        </p:spPr>
        <p:txBody>
          <a:bodyPr lIns="90000" rIns="90000" anchor="ctr" anchorCtr="0"/>
          <a:lstStyle>
            <a:lvl1pPr algn="ctr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2016</a:t>
            </a:r>
          </a:p>
        </p:txBody>
      </p:sp>
      <p:sp>
        <p:nvSpPr>
          <p:cNvPr id="78" name="Text Placeholder 8"/>
          <p:cNvSpPr>
            <a:spLocks noGrp="1"/>
          </p:cNvSpPr>
          <p:nvPr>
            <p:ph type="body" sz="quarter" idx="24" hasCustomPrompt="1"/>
            <p:custDataLst>
              <p:tags r:id="rId53"/>
            </p:custDataLst>
          </p:nvPr>
        </p:nvSpPr>
        <p:spPr bwMode="gray">
          <a:xfrm>
            <a:off x="4716496" y="4070475"/>
            <a:ext cx="4318647" cy="288032"/>
          </a:xfrm>
        </p:spPr>
        <p:txBody>
          <a:bodyPr lIns="90000" rIns="90000" anchor="ctr" anchorCtr="0"/>
          <a:lstStyle>
            <a:lvl1pPr algn="ctr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2017</a:t>
            </a:r>
          </a:p>
        </p:txBody>
      </p:sp>
      <p:sp>
        <p:nvSpPr>
          <p:cNvPr id="79" name="Rechteck 78"/>
          <p:cNvSpPr/>
          <p:nvPr>
            <p:custDataLst>
              <p:tags r:id="rId54"/>
            </p:custDataLst>
          </p:nvPr>
        </p:nvSpPr>
        <p:spPr bwMode="gray">
          <a:xfrm>
            <a:off x="4713580" y="1205976"/>
            <a:ext cx="4322915" cy="3158776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200" b="1" dirty="0" smtClean="0">
              <a:solidFill>
                <a:srgbClr val="000000"/>
              </a:solidFill>
            </a:endParaRPr>
          </a:p>
        </p:txBody>
      </p:sp>
      <p:sp>
        <p:nvSpPr>
          <p:cNvPr id="81" name="Rechteck 80"/>
          <p:cNvSpPr/>
          <p:nvPr>
            <p:custDataLst>
              <p:tags r:id="rId55"/>
            </p:custDataLst>
          </p:nvPr>
        </p:nvSpPr>
        <p:spPr bwMode="gray">
          <a:xfrm>
            <a:off x="396496" y="1188000"/>
            <a:ext cx="4321562" cy="3176752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200" b="1" dirty="0" smtClean="0">
              <a:solidFill>
                <a:srgbClr val="000000"/>
              </a:solidFill>
            </a:endParaRPr>
          </a:p>
        </p:txBody>
      </p:sp>
      <p:sp>
        <p:nvSpPr>
          <p:cNvPr id="76" name="Rectangle 242"/>
          <p:cNvSpPr>
            <a:spLocks noChangeArrowheads="1"/>
          </p:cNvSpPr>
          <p:nvPr userDrawn="1"/>
        </p:nvSpPr>
        <p:spPr bwMode="gray">
          <a:xfrm>
            <a:off x="4067944" y="4588568"/>
            <a:ext cx="288032" cy="144463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tx2"/>
            </a:solidFill>
            <a:prstDash val="solid"/>
            <a:headEnd type="none" w="med" len="med"/>
            <a:tailEnd type="none" w="med" len="med"/>
          </a:ln>
          <a:effectLst/>
        </p:spPr>
        <p:txBody>
          <a:bodyPr wrap="square" lIns="90000" tIns="46800" rIns="90000" bIns="46800" anchor="ctr"/>
          <a:lstStyle/>
          <a:p>
            <a:pPr algn="l">
              <a:spcBef>
                <a:spcPts val="0"/>
              </a:spcBef>
              <a:spcAft>
                <a:spcPts val="0"/>
              </a:spcAft>
              <a:defRPr/>
            </a:pPr>
            <a:endParaRPr kumimoji="0" lang="en-US" altLang="ja-JP" sz="1100" b="1" kern="0">
              <a:latin typeface="Arial"/>
              <a:cs typeface="Arial"/>
            </a:endParaRPr>
          </a:p>
        </p:txBody>
      </p:sp>
      <p:sp>
        <p:nvSpPr>
          <p:cNvPr id="80" name="Rectangle 246"/>
          <p:cNvSpPr>
            <a:spLocks noChangeArrowheads="1"/>
          </p:cNvSpPr>
          <p:nvPr userDrawn="1"/>
        </p:nvSpPr>
        <p:spPr bwMode="gray">
          <a:xfrm>
            <a:off x="1691680" y="4588569"/>
            <a:ext cx="288032" cy="144462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75000"/>
                </a:schemeClr>
              </a:gs>
              <a:gs pos="50000">
                <a:schemeClr val="bg1">
                  <a:lumMod val="75000"/>
                </a:schemeClr>
              </a:gs>
              <a:gs pos="100000">
                <a:schemeClr val="bg2">
                  <a:shade val="100000"/>
                  <a:satMod val="115000"/>
                </a:schemeClr>
              </a:gs>
            </a:gsLst>
            <a:lin ang="5400000" scaled="1"/>
            <a:tileRect/>
          </a:gra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wrap="square" lIns="90000" tIns="46800" rIns="90000" bIns="46800" anchor="ctr"/>
          <a:lstStyle/>
          <a:p>
            <a:pPr algn="l" eaLnBrk="0" hangingPunct="0">
              <a:spcBef>
                <a:spcPts val="0"/>
              </a:spcBef>
              <a:spcAft>
                <a:spcPts val="0"/>
              </a:spcAft>
            </a:pPr>
            <a:endParaRPr kumimoji="0" lang="en-US" altLang="ja-JP" sz="1100" b="1" kern="0">
              <a:solidFill>
                <a:srgbClr val="FFFFFF"/>
              </a:solidFill>
              <a:latin typeface="Arial"/>
              <a:ea typeface="+mn-ea"/>
            </a:endParaRPr>
          </a:p>
        </p:txBody>
      </p:sp>
      <p:sp>
        <p:nvSpPr>
          <p:cNvPr id="82" name="Rectangle 247"/>
          <p:cNvSpPr>
            <a:spLocks noChangeArrowheads="1"/>
          </p:cNvSpPr>
          <p:nvPr userDrawn="1"/>
        </p:nvSpPr>
        <p:spPr bwMode="gray">
          <a:xfrm>
            <a:off x="1979712" y="4588568"/>
            <a:ext cx="1557338" cy="1444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90000" tIns="46800" rIns="90000" bIns="46800" anchor="ctr" anchorCtr="0">
            <a:noAutofit/>
          </a:bodyPr>
          <a:lstStyle/>
          <a:p>
            <a:pPr algn="l" defTabSz="74295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ja-JP" sz="900" kern="0" dirty="0" smtClean="0">
                <a:solidFill>
                  <a:sysClr val="windowText" lastClr="000000"/>
                </a:solidFill>
                <a:latin typeface="Arial"/>
                <a:ea typeface="+mn-ea"/>
              </a:rPr>
              <a:t>EOL as long as stock lasts</a:t>
            </a:r>
          </a:p>
        </p:txBody>
      </p:sp>
      <p:sp>
        <p:nvSpPr>
          <p:cNvPr id="83" name="Rectangle 242"/>
          <p:cNvSpPr>
            <a:spLocks noChangeArrowheads="1"/>
          </p:cNvSpPr>
          <p:nvPr userDrawn="1"/>
        </p:nvSpPr>
        <p:spPr bwMode="gray">
          <a:xfrm>
            <a:off x="1403648" y="4588568"/>
            <a:ext cx="288032" cy="144463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tx2"/>
            </a:solidFill>
            <a:prstDash val="solid"/>
            <a:headEnd type="none" w="med" len="med"/>
            <a:tailEnd type="none" w="med" len="med"/>
          </a:ln>
          <a:effectLst/>
        </p:spPr>
        <p:txBody>
          <a:bodyPr wrap="square" lIns="90000" tIns="46800" rIns="90000" bIns="46800" anchor="ctr"/>
          <a:lstStyle/>
          <a:p>
            <a:pPr algn="l">
              <a:spcBef>
                <a:spcPts val="0"/>
              </a:spcBef>
              <a:spcAft>
                <a:spcPts val="0"/>
              </a:spcAft>
              <a:defRPr/>
            </a:pPr>
            <a:endParaRPr kumimoji="0" lang="en-US" altLang="ja-JP" sz="1100" b="1" kern="0">
              <a:latin typeface="Arial"/>
              <a:cs typeface="Arial"/>
            </a:endParaRPr>
          </a:p>
        </p:txBody>
      </p:sp>
      <p:sp>
        <p:nvSpPr>
          <p:cNvPr id="84" name="Rectangle 243"/>
          <p:cNvSpPr>
            <a:spLocks noChangeArrowheads="1"/>
          </p:cNvSpPr>
          <p:nvPr userDrawn="1"/>
        </p:nvSpPr>
        <p:spPr bwMode="gray">
          <a:xfrm>
            <a:off x="4355976" y="4588568"/>
            <a:ext cx="2256284" cy="1444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90000" tIns="46800" rIns="90000" bIns="46800" anchor="ctr" anchorCtr="0">
            <a:noAutofit/>
          </a:bodyPr>
          <a:lstStyle/>
          <a:p>
            <a:pPr algn="l" defTabSz="74295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ja-JP" sz="900" kern="0" dirty="0" smtClean="0">
                <a:solidFill>
                  <a:sysClr val="windowText" lastClr="000000"/>
                </a:solidFill>
                <a:latin typeface="Arial"/>
                <a:ea typeface="+mn-ea"/>
              </a:rPr>
              <a:t>Roadmap product</a:t>
            </a:r>
          </a:p>
        </p:txBody>
      </p:sp>
    </p:spTree>
    <p:extLst>
      <p:ext uri="{BB962C8B-B14F-4D97-AF65-F5344CB8AC3E}">
        <p14:creationId xmlns:p14="http://schemas.microsoft.com/office/powerpoint/2010/main" val="792005226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Rechteck 80"/>
          <p:cNvSpPr/>
          <p:nvPr userDrawn="1">
            <p:custDataLst>
              <p:tags r:id="rId1"/>
            </p:custDataLst>
          </p:nvPr>
        </p:nvSpPr>
        <p:spPr bwMode="gray">
          <a:xfrm>
            <a:off x="323516" y="3375970"/>
            <a:ext cx="5472608" cy="638272"/>
          </a:xfrm>
          <a:prstGeom prst="rect">
            <a:avLst/>
          </a:prstGeom>
          <a:gradFill flip="none" rotWithShape="1">
            <a:gsLst>
              <a:gs pos="0">
                <a:schemeClr val="bg2"/>
              </a:gs>
              <a:gs pos="100000">
                <a:schemeClr val="bg1"/>
              </a:gs>
            </a:gsLst>
            <a:path path="circle">
              <a:fillToRect r="100000" b="100000"/>
            </a:path>
            <a:tileRect l="-100000" t="-10000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t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b="1" dirty="0" smtClean="0">
              <a:solidFill>
                <a:srgbClr val="000000"/>
              </a:solidFill>
            </a:endParaRP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8" hasCustomPrompt="1"/>
            <p:custDataLst>
              <p:tags r:id="rId2"/>
            </p:custDataLst>
          </p:nvPr>
        </p:nvSpPr>
        <p:spPr bwMode="gray">
          <a:xfrm>
            <a:off x="613048" y="4214596"/>
            <a:ext cx="2590800" cy="288032"/>
          </a:xfrm>
        </p:spPr>
        <p:txBody>
          <a:bodyPr lIns="90000" rIns="90000" anchor="ctr" anchorCtr="0"/>
          <a:lstStyle>
            <a:lvl1pPr algn="ctr">
              <a:buNone/>
              <a:defRPr sz="11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2014</a:t>
            </a:r>
          </a:p>
        </p:txBody>
      </p:sp>
      <p:sp>
        <p:nvSpPr>
          <p:cNvPr id="78" name="Rechteck 77"/>
          <p:cNvSpPr/>
          <p:nvPr userDrawn="1">
            <p:custDataLst>
              <p:tags r:id="rId3"/>
            </p:custDataLst>
          </p:nvPr>
        </p:nvSpPr>
        <p:spPr bwMode="gray">
          <a:xfrm>
            <a:off x="280717" y="1822280"/>
            <a:ext cx="5472608" cy="1508820"/>
          </a:xfrm>
          <a:prstGeom prst="rect">
            <a:avLst/>
          </a:prstGeom>
          <a:gradFill flip="none" rotWithShape="1">
            <a:gsLst>
              <a:gs pos="0">
                <a:schemeClr val="bg2"/>
              </a:gs>
              <a:gs pos="100000">
                <a:schemeClr val="bg1"/>
              </a:gs>
            </a:gsLst>
            <a:path path="circle">
              <a:fillToRect r="100000" b="100000"/>
            </a:path>
            <a:tileRect l="-100000" t="-10000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t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b="1" dirty="0" smtClean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Rechteck 5"/>
          <p:cNvSpPr/>
          <p:nvPr userDrawn="1">
            <p:custDataLst>
              <p:tags r:id="rId4"/>
            </p:custDataLst>
          </p:nvPr>
        </p:nvSpPr>
        <p:spPr bwMode="gray">
          <a:xfrm>
            <a:off x="323528" y="1116000"/>
            <a:ext cx="5472608" cy="663662"/>
          </a:xfrm>
          <a:prstGeom prst="rect">
            <a:avLst/>
          </a:prstGeom>
          <a:gradFill flip="none" rotWithShape="1">
            <a:gsLst>
              <a:gs pos="0">
                <a:schemeClr val="bg2"/>
              </a:gs>
              <a:gs pos="100000">
                <a:schemeClr val="bg1"/>
              </a:gs>
            </a:gsLst>
            <a:path path="circle">
              <a:fillToRect r="100000" b="100000"/>
            </a:path>
            <a:tileRect l="-100000" t="-10000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t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b="1" dirty="0" smtClean="0">
              <a:solidFill>
                <a:srgbClr val="000000"/>
              </a:solidFill>
            </a:endParaRPr>
          </a:p>
        </p:txBody>
      </p:sp>
      <p:sp>
        <p:nvSpPr>
          <p:cNvPr id="7" name="Rechteck 6"/>
          <p:cNvSpPr/>
          <p:nvPr userDrawn="1">
            <p:custDataLst>
              <p:tags r:id="rId5"/>
            </p:custDataLst>
          </p:nvPr>
        </p:nvSpPr>
        <p:spPr bwMode="gray">
          <a:xfrm rot="16200000">
            <a:off x="-307336" y="2439012"/>
            <a:ext cx="1504800" cy="299332"/>
          </a:xfrm>
          <a:prstGeom prst="rect">
            <a:avLst/>
          </a:prstGeom>
          <a:gradFill flip="none" rotWithShape="1">
            <a:gsLst>
              <a:gs pos="30000">
                <a:schemeClr val="tx2"/>
              </a:gs>
              <a:gs pos="100000">
                <a:schemeClr val="tx2">
                  <a:lumMod val="60000"/>
                  <a:lumOff val="40000"/>
                </a:schemeClr>
              </a:gs>
            </a:gsLst>
            <a:lin ang="16200000" scaled="1"/>
            <a:tileRect/>
          </a:gra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90000" bIns="46800" rtlCol="0" anchor="ctr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5C5D"/>
              </a:buClr>
            </a:pPr>
            <a:r>
              <a:rPr kumimoji="0" lang="en-US" sz="1000" dirty="0" smtClean="0">
                <a:solidFill>
                  <a:srgbClr val="FFFFFF"/>
                </a:solidFill>
              </a:rPr>
              <a:t>Advanced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9" hasCustomPrompt="1"/>
            <p:custDataLst>
              <p:tags r:id="rId6"/>
            </p:custDataLst>
          </p:nvPr>
        </p:nvSpPr>
        <p:spPr bwMode="gray">
          <a:xfrm rot="16200000">
            <a:off x="104250" y="3499964"/>
            <a:ext cx="704072" cy="287804"/>
          </a:xfrm>
        </p:spPr>
        <p:txBody>
          <a:bodyPr vert="horz" lIns="90000" tIns="0" rIns="90000" bIns="0" rtlCol="0" anchor="ctr" anchorCtr="0">
            <a:noAutofit/>
          </a:bodyPr>
          <a:lstStyle>
            <a:lvl1pPr>
              <a:buNone/>
              <a:defRPr lang="en-US" sz="12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516"/>
              </a:spcBef>
              <a:spcAft>
                <a:spcPts val="288"/>
              </a:spcAft>
              <a:buClr>
                <a:schemeClr val="accent2"/>
              </a:buClr>
              <a:buFont typeface="Wingdings" pitchFamily="2" charset="2"/>
              <a:buNone/>
            </a:pPr>
            <a:r>
              <a:rPr lang="en-US" dirty="0" smtClean="0"/>
              <a:t>Xxx</a:t>
            </a:r>
          </a:p>
        </p:txBody>
      </p:sp>
      <p:sp>
        <p:nvSpPr>
          <p:cNvPr id="11" name="Eine Ecke des Rechtecks abrunden 10"/>
          <p:cNvSpPr/>
          <p:nvPr userDrawn="1">
            <p:custDataLst>
              <p:tags r:id="rId7"/>
            </p:custDataLst>
          </p:nvPr>
        </p:nvSpPr>
        <p:spPr bwMode="gray">
          <a:xfrm>
            <a:off x="6012160" y="1124744"/>
            <a:ext cx="2952453" cy="792088"/>
          </a:xfrm>
          <a:prstGeom prst="round1Rect">
            <a:avLst>
              <a:gd name="adj" fmla="val 48101"/>
            </a:avLst>
          </a:prstGeom>
          <a:gradFill flip="none" rotWithShape="1">
            <a:gsLst>
              <a:gs pos="30000">
                <a:schemeClr val="tx2"/>
              </a:gs>
              <a:gs pos="100000">
                <a:schemeClr val="tx2">
                  <a:lumMod val="60000"/>
                  <a:lumOff val="40000"/>
                </a:schemeClr>
              </a:gs>
            </a:gsLst>
            <a:lin ang="16200000" scaled="1"/>
            <a:tileRect/>
          </a:gra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5C5D"/>
              </a:buClr>
            </a:pPr>
            <a:endParaRPr kumimoji="0" lang="en-US" sz="1400" dirty="0" smtClean="0">
              <a:solidFill>
                <a:srgbClr val="FFFFFF"/>
              </a:solidFill>
            </a:endParaRPr>
          </a:p>
        </p:txBody>
      </p:sp>
      <p:sp>
        <p:nvSpPr>
          <p:cNvPr id="12" name="Rechteck 11"/>
          <p:cNvSpPr/>
          <p:nvPr userDrawn="1">
            <p:custDataLst>
              <p:tags r:id="rId8"/>
            </p:custDataLst>
          </p:nvPr>
        </p:nvSpPr>
        <p:spPr bwMode="gray">
          <a:xfrm>
            <a:off x="6014756" y="1562108"/>
            <a:ext cx="2952329" cy="2988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266700" lvl="1" indent="-266700" algn="l" fontAlgn="auto">
              <a:spcBef>
                <a:spcPts val="516"/>
              </a:spcBef>
              <a:spcAft>
                <a:spcPts val="288"/>
              </a:spcAft>
              <a:buClr>
                <a:srgbClr val="A30B1A"/>
              </a:buClr>
              <a:buFont typeface="Wingdings" pitchFamily="2" charset="2"/>
              <a:buChar char="n"/>
            </a:pPr>
            <a:endParaRPr kumimoji="0" lang="en-US" sz="1050" dirty="0" smtClean="0">
              <a:solidFill>
                <a:srgbClr val="000000"/>
              </a:solidFill>
            </a:endParaRP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21"/>
            <p:custDataLst>
              <p:tags r:id="rId9"/>
            </p:custDataLst>
          </p:nvPr>
        </p:nvSpPr>
        <p:spPr bwMode="gray">
          <a:xfrm>
            <a:off x="6012160" y="1125463"/>
            <a:ext cx="2952453" cy="431329"/>
          </a:xfrm>
        </p:spPr>
        <p:txBody>
          <a:bodyPr lIns="90000" anchor="ctr" anchorCtr="0"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ext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2"/>
            <p:custDataLst>
              <p:tags r:id="rId10"/>
            </p:custDataLst>
          </p:nvPr>
        </p:nvSpPr>
        <p:spPr bwMode="gray">
          <a:xfrm>
            <a:off x="6012160" y="1556246"/>
            <a:ext cx="2952453" cy="2988000"/>
          </a:xfrm>
        </p:spPr>
        <p:txBody>
          <a:bodyPr lIns="90000" tIns="82800" rIns="90000" anchor="t" anchorCtr="0"/>
          <a:lstStyle>
            <a:lvl1pPr marL="0" indent="0">
              <a:buFont typeface="Wingdings" pitchFamily="2" charset="2"/>
              <a:buNone/>
              <a:defRPr sz="1400" b="1">
                <a:solidFill>
                  <a:schemeClr val="tx1"/>
                </a:solidFill>
              </a:defRPr>
            </a:lvl1pPr>
            <a:lvl2pPr marL="266700" indent="-266700">
              <a:buClr>
                <a:schemeClr val="accent3"/>
              </a:buClr>
              <a:defRPr sz="1400"/>
            </a:lvl2pPr>
          </a:lstStyle>
          <a:p>
            <a:pPr lvl="0"/>
            <a:r>
              <a:rPr lang="en-US" dirty="0" smtClean="0"/>
              <a:t>Text</a:t>
            </a:r>
          </a:p>
          <a:p>
            <a:pPr lvl="1"/>
            <a:r>
              <a:rPr lang="en-US" dirty="0" smtClean="0"/>
              <a:t>Text</a:t>
            </a:r>
          </a:p>
          <a:p>
            <a:pPr lvl="1"/>
            <a:r>
              <a:rPr lang="en-US" dirty="0" smtClean="0"/>
              <a:t>Text</a:t>
            </a:r>
          </a:p>
        </p:txBody>
      </p:sp>
      <p:sp>
        <p:nvSpPr>
          <p:cNvPr id="15" name="Rechteck 14"/>
          <p:cNvSpPr/>
          <p:nvPr userDrawn="1">
            <p:custDataLst>
              <p:tags r:id="rId11"/>
            </p:custDataLst>
          </p:nvPr>
        </p:nvSpPr>
        <p:spPr bwMode="gray">
          <a:xfrm>
            <a:off x="611560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16" name="Rechteck 15"/>
          <p:cNvSpPr/>
          <p:nvPr userDrawn="1">
            <p:custDataLst>
              <p:tags r:id="rId12"/>
            </p:custDataLst>
          </p:nvPr>
        </p:nvSpPr>
        <p:spPr bwMode="gray">
          <a:xfrm>
            <a:off x="827584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17" name="Rechteck 16"/>
          <p:cNvSpPr/>
          <p:nvPr userDrawn="1">
            <p:custDataLst>
              <p:tags r:id="rId13"/>
            </p:custDataLst>
          </p:nvPr>
        </p:nvSpPr>
        <p:spPr bwMode="gray">
          <a:xfrm>
            <a:off x="1043608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18" name="Rechteck 17"/>
          <p:cNvSpPr/>
          <p:nvPr userDrawn="1">
            <p:custDataLst>
              <p:tags r:id="rId14"/>
            </p:custDataLst>
          </p:nvPr>
        </p:nvSpPr>
        <p:spPr bwMode="gray">
          <a:xfrm>
            <a:off x="611560" y="1116000"/>
            <a:ext cx="648072" cy="3132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1</a:t>
            </a:r>
          </a:p>
        </p:txBody>
      </p:sp>
      <p:sp>
        <p:nvSpPr>
          <p:cNvPr id="19" name="Rechteck 18"/>
          <p:cNvSpPr/>
          <p:nvPr userDrawn="1">
            <p:custDataLst>
              <p:tags r:id="rId15"/>
            </p:custDataLst>
          </p:nvPr>
        </p:nvSpPr>
        <p:spPr bwMode="gray">
          <a:xfrm>
            <a:off x="1259632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20" name="Rechteck 19"/>
          <p:cNvSpPr/>
          <p:nvPr userDrawn="1">
            <p:custDataLst>
              <p:tags r:id="rId16"/>
            </p:custDataLst>
          </p:nvPr>
        </p:nvSpPr>
        <p:spPr bwMode="gray">
          <a:xfrm>
            <a:off x="1475656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21" name="Rechteck 20"/>
          <p:cNvSpPr/>
          <p:nvPr userDrawn="1">
            <p:custDataLst>
              <p:tags r:id="rId17"/>
            </p:custDataLst>
          </p:nvPr>
        </p:nvSpPr>
        <p:spPr bwMode="gray">
          <a:xfrm>
            <a:off x="1691680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22" name="Rechteck 21"/>
          <p:cNvSpPr/>
          <p:nvPr userDrawn="1">
            <p:custDataLst>
              <p:tags r:id="rId18"/>
            </p:custDataLst>
          </p:nvPr>
        </p:nvSpPr>
        <p:spPr bwMode="gray">
          <a:xfrm>
            <a:off x="1259632" y="1116000"/>
            <a:ext cx="648072" cy="3132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2</a:t>
            </a:r>
          </a:p>
        </p:txBody>
      </p:sp>
      <p:sp>
        <p:nvSpPr>
          <p:cNvPr id="23" name="Rechteck 22"/>
          <p:cNvSpPr/>
          <p:nvPr userDrawn="1">
            <p:custDataLst>
              <p:tags r:id="rId19"/>
            </p:custDataLst>
          </p:nvPr>
        </p:nvSpPr>
        <p:spPr bwMode="gray">
          <a:xfrm>
            <a:off x="1907704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24" name="Rechteck 23"/>
          <p:cNvSpPr/>
          <p:nvPr userDrawn="1">
            <p:custDataLst>
              <p:tags r:id="rId20"/>
            </p:custDataLst>
          </p:nvPr>
        </p:nvSpPr>
        <p:spPr bwMode="gray">
          <a:xfrm>
            <a:off x="2123728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25" name="Rechteck 24"/>
          <p:cNvSpPr/>
          <p:nvPr userDrawn="1">
            <p:custDataLst>
              <p:tags r:id="rId21"/>
            </p:custDataLst>
          </p:nvPr>
        </p:nvSpPr>
        <p:spPr bwMode="gray">
          <a:xfrm>
            <a:off x="2339752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26" name="Rechteck 25"/>
          <p:cNvSpPr/>
          <p:nvPr userDrawn="1">
            <p:custDataLst>
              <p:tags r:id="rId22"/>
            </p:custDataLst>
          </p:nvPr>
        </p:nvSpPr>
        <p:spPr bwMode="gray">
          <a:xfrm>
            <a:off x="1907704" y="1116000"/>
            <a:ext cx="648072" cy="3132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3</a:t>
            </a:r>
          </a:p>
        </p:txBody>
      </p:sp>
      <p:sp>
        <p:nvSpPr>
          <p:cNvPr id="27" name="Rechteck 26"/>
          <p:cNvSpPr/>
          <p:nvPr userDrawn="1">
            <p:custDataLst>
              <p:tags r:id="rId23"/>
            </p:custDataLst>
          </p:nvPr>
        </p:nvSpPr>
        <p:spPr bwMode="gray">
          <a:xfrm>
            <a:off x="2555776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28" name="Rechteck 27"/>
          <p:cNvSpPr/>
          <p:nvPr userDrawn="1">
            <p:custDataLst>
              <p:tags r:id="rId24"/>
            </p:custDataLst>
          </p:nvPr>
        </p:nvSpPr>
        <p:spPr bwMode="gray">
          <a:xfrm>
            <a:off x="2771800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29" name="Rechteck 28"/>
          <p:cNvSpPr/>
          <p:nvPr userDrawn="1">
            <p:custDataLst>
              <p:tags r:id="rId25"/>
            </p:custDataLst>
          </p:nvPr>
        </p:nvSpPr>
        <p:spPr bwMode="gray">
          <a:xfrm>
            <a:off x="2987824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0" name="Rechteck 29"/>
          <p:cNvSpPr/>
          <p:nvPr userDrawn="1">
            <p:custDataLst>
              <p:tags r:id="rId26"/>
            </p:custDataLst>
          </p:nvPr>
        </p:nvSpPr>
        <p:spPr bwMode="gray">
          <a:xfrm>
            <a:off x="2555776" y="1116000"/>
            <a:ext cx="648072" cy="3132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4</a:t>
            </a:r>
          </a:p>
        </p:txBody>
      </p:sp>
      <p:sp>
        <p:nvSpPr>
          <p:cNvPr id="31" name="Rechteck 30"/>
          <p:cNvSpPr/>
          <p:nvPr userDrawn="1">
            <p:custDataLst>
              <p:tags r:id="rId27"/>
            </p:custDataLst>
          </p:nvPr>
        </p:nvSpPr>
        <p:spPr bwMode="gray">
          <a:xfrm>
            <a:off x="3203848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2" name="Rechteck 31"/>
          <p:cNvSpPr/>
          <p:nvPr userDrawn="1">
            <p:custDataLst>
              <p:tags r:id="rId28"/>
            </p:custDataLst>
          </p:nvPr>
        </p:nvSpPr>
        <p:spPr bwMode="gray">
          <a:xfrm>
            <a:off x="3419872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3" name="Rechteck 32"/>
          <p:cNvSpPr/>
          <p:nvPr userDrawn="1">
            <p:custDataLst>
              <p:tags r:id="rId29"/>
            </p:custDataLst>
          </p:nvPr>
        </p:nvSpPr>
        <p:spPr bwMode="gray">
          <a:xfrm>
            <a:off x="3635896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4" name="Rechteck 33"/>
          <p:cNvSpPr/>
          <p:nvPr userDrawn="1">
            <p:custDataLst>
              <p:tags r:id="rId30"/>
            </p:custDataLst>
          </p:nvPr>
        </p:nvSpPr>
        <p:spPr bwMode="gray">
          <a:xfrm>
            <a:off x="3203848" y="1116000"/>
            <a:ext cx="648072" cy="3132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1</a:t>
            </a:r>
          </a:p>
        </p:txBody>
      </p:sp>
      <p:sp>
        <p:nvSpPr>
          <p:cNvPr id="35" name="Rechteck 34"/>
          <p:cNvSpPr/>
          <p:nvPr userDrawn="1">
            <p:custDataLst>
              <p:tags r:id="rId31"/>
            </p:custDataLst>
          </p:nvPr>
        </p:nvSpPr>
        <p:spPr bwMode="gray">
          <a:xfrm>
            <a:off x="3851920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6" name="Rechteck 35"/>
          <p:cNvSpPr/>
          <p:nvPr userDrawn="1">
            <p:custDataLst>
              <p:tags r:id="rId32"/>
            </p:custDataLst>
          </p:nvPr>
        </p:nvSpPr>
        <p:spPr bwMode="gray">
          <a:xfrm>
            <a:off x="4067944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7" name="Rechteck 36"/>
          <p:cNvSpPr/>
          <p:nvPr userDrawn="1">
            <p:custDataLst>
              <p:tags r:id="rId33"/>
            </p:custDataLst>
          </p:nvPr>
        </p:nvSpPr>
        <p:spPr bwMode="gray">
          <a:xfrm>
            <a:off x="4283968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8" name="Rechteck 37"/>
          <p:cNvSpPr/>
          <p:nvPr userDrawn="1">
            <p:custDataLst>
              <p:tags r:id="rId34"/>
            </p:custDataLst>
          </p:nvPr>
        </p:nvSpPr>
        <p:spPr bwMode="gray">
          <a:xfrm>
            <a:off x="3851920" y="1116000"/>
            <a:ext cx="648072" cy="3132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2</a:t>
            </a:r>
          </a:p>
        </p:txBody>
      </p:sp>
      <p:sp>
        <p:nvSpPr>
          <p:cNvPr id="39" name="Rechteck 38"/>
          <p:cNvSpPr/>
          <p:nvPr userDrawn="1">
            <p:custDataLst>
              <p:tags r:id="rId35"/>
            </p:custDataLst>
          </p:nvPr>
        </p:nvSpPr>
        <p:spPr bwMode="gray">
          <a:xfrm>
            <a:off x="4499992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40" name="Rechteck 39"/>
          <p:cNvSpPr/>
          <p:nvPr userDrawn="1">
            <p:custDataLst>
              <p:tags r:id="rId36"/>
            </p:custDataLst>
          </p:nvPr>
        </p:nvSpPr>
        <p:spPr bwMode="gray">
          <a:xfrm>
            <a:off x="4716016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41" name="Rechteck 40"/>
          <p:cNvSpPr/>
          <p:nvPr userDrawn="1">
            <p:custDataLst>
              <p:tags r:id="rId37"/>
            </p:custDataLst>
          </p:nvPr>
        </p:nvSpPr>
        <p:spPr bwMode="gray">
          <a:xfrm>
            <a:off x="4932040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42" name="Rechteck 41"/>
          <p:cNvSpPr/>
          <p:nvPr userDrawn="1">
            <p:custDataLst>
              <p:tags r:id="rId38"/>
            </p:custDataLst>
          </p:nvPr>
        </p:nvSpPr>
        <p:spPr bwMode="gray">
          <a:xfrm>
            <a:off x="4499992" y="1116000"/>
            <a:ext cx="648072" cy="3132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3</a:t>
            </a:r>
          </a:p>
        </p:txBody>
      </p:sp>
      <p:sp>
        <p:nvSpPr>
          <p:cNvPr id="43" name="Rechteck 42"/>
          <p:cNvSpPr/>
          <p:nvPr userDrawn="1">
            <p:custDataLst>
              <p:tags r:id="rId39"/>
            </p:custDataLst>
          </p:nvPr>
        </p:nvSpPr>
        <p:spPr bwMode="gray">
          <a:xfrm>
            <a:off x="5148064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44" name="Rechteck 43"/>
          <p:cNvSpPr/>
          <p:nvPr userDrawn="1">
            <p:custDataLst>
              <p:tags r:id="rId40"/>
            </p:custDataLst>
          </p:nvPr>
        </p:nvSpPr>
        <p:spPr bwMode="gray">
          <a:xfrm>
            <a:off x="5364088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45" name="Rechteck 44"/>
          <p:cNvSpPr/>
          <p:nvPr userDrawn="1">
            <p:custDataLst>
              <p:tags r:id="rId41"/>
            </p:custDataLst>
          </p:nvPr>
        </p:nvSpPr>
        <p:spPr bwMode="gray">
          <a:xfrm>
            <a:off x="5580112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46" name="Rechteck 45"/>
          <p:cNvSpPr/>
          <p:nvPr userDrawn="1">
            <p:custDataLst>
              <p:tags r:id="rId42"/>
            </p:custDataLst>
          </p:nvPr>
        </p:nvSpPr>
        <p:spPr bwMode="gray">
          <a:xfrm>
            <a:off x="5148064" y="1116000"/>
            <a:ext cx="648072" cy="3132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4</a:t>
            </a:r>
          </a:p>
        </p:txBody>
      </p:sp>
      <p:cxnSp>
        <p:nvCxnSpPr>
          <p:cNvPr id="49" name="Gerade Verbindung 48"/>
          <p:cNvCxnSpPr/>
          <p:nvPr userDrawn="1">
            <p:custDataLst>
              <p:tags r:id="rId43"/>
            </p:custDataLst>
          </p:nvPr>
        </p:nvCxnSpPr>
        <p:spPr>
          <a:xfrm flipH="1">
            <a:off x="1259541" y="1125290"/>
            <a:ext cx="91" cy="3132000"/>
          </a:xfrm>
          <a:prstGeom prst="line">
            <a:avLst/>
          </a:prstGeom>
          <a:ln w="1905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49"/>
          <p:cNvCxnSpPr/>
          <p:nvPr userDrawn="1">
            <p:custDataLst>
              <p:tags r:id="rId44"/>
            </p:custDataLst>
          </p:nvPr>
        </p:nvCxnSpPr>
        <p:spPr>
          <a:xfrm rot="5400000">
            <a:off x="341704" y="2691290"/>
            <a:ext cx="3132000" cy="0"/>
          </a:xfrm>
          <a:prstGeom prst="line">
            <a:avLst/>
          </a:prstGeom>
          <a:ln w="1905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50"/>
          <p:cNvCxnSpPr/>
          <p:nvPr userDrawn="1">
            <p:custDataLst>
              <p:tags r:id="rId45"/>
            </p:custDataLst>
          </p:nvPr>
        </p:nvCxnSpPr>
        <p:spPr>
          <a:xfrm rot="5400000">
            <a:off x="989776" y="2685428"/>
            <a:ext cx="3132000" cy="0"/>
          </a:xfrm>
          <a:prstGeom prst="line">
            <a:avLst/>
          </a:prstGeom>
          <a:ln w="1905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rade Verbindung 51"/>
          <p:cNvCxnSpPr/>
          <p:nvPr userDrawn="1">
            <p:custDataLst>
              <p:tags r:id="rId46"/>
            </p:custDataLst>
          </p:nvPr>
        </p:nvCxnSpPr>
        <p:spPr>
          <a:xfrm>
            <a:off x="3851920" y="1125290"/>
            <a:ext cx="2904" cy="3123981"/>
          </a:xfrm>
          <a:prstGeom prst="line">
            <a:avLst/>
          </a:prstGeom>
          <a:ln w="1905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 Verbindung 52"/>
          <p:cNvCxnSpPr/>
          <p:nvPr userDrawn="1">
            <p:custDataLst>
              <p:tags r:id="rId47"/>
            </p:custDataLst>
          </p:nvPr>
        </p:nvCxnSpPr>
        <p:spPr>
          <a:xfrm rot="5400000">
            <a:off x="2933992" y="2691290"/>
            <a:ext cx="3132000" cy="0"/>
          </a:xfrm>
          <a:prstGeom prst="line">
            <a:avLst/>
          </a:prstGeom>
          <a:ln w="1905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53"/>
          <p:cNvCxnSpPr/>
          <p:nvPr userDrawn="1">
            <p:custDataLst>
              <p:tags r:id="rId48"/>
            </p:custDataLst>
          </p:nvPr>
        </p:nvCxnSpPr>
        <p:spPr>
          <a:xfrm rot="5400000">
            <a:off x="3582064" y="2691290"/>
            <a:ext cx="3132000" cy="0"/>
          </a:xfrm>
          <a:prstGeom prst="line">
            <a:avLst/>
          </a:prstGeom>
          <a:ln w="1905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Rectangle 241"/>
          <p:cNvSpPr>
            <a:spLocks noChangeArrowheads="1"/>
          </p:cNvSpPr>
          <p:nvPr userDrawn="1"/>
        </p:nvSpPr>
        <p:spPr bwMode="gray">
          <a:xfrm>
            <a:off x="180229" y="4803551"/>
            <a:ext cx="8784383" cy="1444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90000" tIns="46800" rIns="90000" bIns="46800" anchor="ctr" anchorCtr="0">
            <a:noAutofit/>
          </a:bodyPr>
          <a:lstStyle/>
          <a:p>
            <a:pPr algn="l" defTabSz="74295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ja-JP" sz="900" kern="0" smtClean="0">
                <a:solidFill>
                  <a:sysClr val="windowText" lastClr="000000"/>
                </a:solidFill>
                <a:latin typeface="Arial"/>
                <a:ea typeface="+mn-ea"/>
              </a:rPr>
              <a:t>All dates are subject to change. </a:t>
            </a:r>
          </a:p>
        </p:txBody>
      </p:sp>
      <p:sp>
        <p:nvSpPr>
          <p:cNvPr id="76" name="Rechteck 75"/>
          <p:cNvSpPr/>
          <p:nvPr userDrawn="1">
            <p:custDataLst>
              <p:tags r:id="rId49"/>
            </p:custDataLst>
          </p:nvPr>
        </p:nvSpPr>
        <p:spPr bwMode="gray">
          <a:xfrm rot="16200000">
            <a:off x="120777" y="1303789"/>
            <a:ext cx="659796" cy="287954"/>
          </a:xfrm>
          <a:prstGeom prst="rect">
            <a:avLst/>
          </a:prstGeom>
          <a:gradFill flip="none" rotWithShape="1">
            <a:gsLst>
              <a:gs pos="30000">
                <a:schemeClr val="tx2"/>
              </a:gs>
              <a:gs pos="100000">
                <a:schemeClr val="tx2">
                  <a:lumMod val="60000"/>
                  <a:lumOff val="40000"/>
                </a:schemeClr>
              </a:gs>
            </a:gsLst>
            <a:lin ang="16200000" scaled="1"/>
            <a:tileRect/>
          </a:gra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90000" bIns="46800" rtlCol="0" anchor="ctr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5C5D"/>
              </a:buClr>
            </a:pPr>
            <a:endParaRPr kumimoji="0" lang="en-US" sz="1200" dirty="0" smtClean="0">
              <a:solidFill>
                <a:srgbClr val="FFFFFF"/>
              </a:solidFill>
            </a:endParaRPr>
          </a:p>
        </p:txBody>
      </p:sp>
      <p:cxnSp>
        <p:nvCxnSpPr>
          <p:cNvPr id="75" name="Gerade Verbindung 74"/>
          <p:cNvCxnSpPr/>
          <p:nvPr userDrawn="1">
            <p:custDataLst>
              <p:tags r:id="rId50"/>
            </p:custDataLst>
          </p:nvPr>
        </p:nvCxnSpPr>
        <p:spPr>
          <a:xfrm rot="5400000">
            <a:off x="1637476" y="2687480"/>
            <a:ext cx="3132000" cy="0"/>
          </a:xfrm>
          <a:prstGeom prst="line">
            <a:avLst/>
          </a:prstGeom>
          <a:ln w="1905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chteck 46"/>
          <p:cNvSpPr/>
          <p:nvPr userDrawn="1">
            <p:custDataLst>
              <p:tags r:id="rId51"/>
            </p:custDataLst>
          </p:nvPr>
        </p:nvSpPr>
        <p:spPr bwMode="gray">
          <a:xfrm>
            <a:off x="608441" y="1116000"/>
            <a:ext cx="2595035" cy="3420000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200" b="1" dirty="0" smtClean="0">
              <a:solidFill>
                <a:srgbClr val="000000"/>
              </a:solidFill>
            </a:endParaRPr>
          </a:p>
        </p:txBody>
      </p:sp>
      <p:sp>
        <p:nvSpPr>
          <p:cNvPr id="79" name="Rechteck 78"/>
          <p:cNvSpPr/>
          <p:nvPr userDrawn="1">
            <p:custDataLst>
              <p:tags r:id="rId52"/>
            </p:custDataLst>
          </p:nvPr>
        </p:nvSpPr>
        <p:spPr bwMode="gray">
          <a:xfrm>
            <a:off x="3203476" y="1115984"/>
            <a:ext cx="2587843" cy="3420000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200" b="1" dirty="0" smtClean="0">
              <a:solidFill>
                <a:srgbClr val="000000"/>
              </a:solidFill>
            </a:endParaRPr>
          </a:p>
        </p:txBody>
      </p:sp>
      <p:sp>
        <p:nvSpPr>
          <p:cNvPr id="80" name="Text Placeholder 8"/>
          <p:cNvSpPr>
            <a:spLocks noGrp="1"/>
          </p:cNvSpPr>
          <p:nvPr>
            <p:ph type="body" sz="quarter" idx="27" hasCustomPrompt="1"/>
            <p:custDataLst>
              <p:tags r:id="rId53"/>
            </p:custDataLst>
          </p:nvPr>
        </p:nvSpPr>
        <p:spPr bwMode="gray">
          <a:xfrm>
            <a:off x="3203476" y="4252747"/>
            <a:ext cx="2587844" cy="288032"/>
          </a:xfrm>
        </p:spPr>
        <p:txBody>
          <a:bodyPr lIns="90000" rIns="90000" anchor="ctr" anchorCtr="0"/>
          <a:lstStyle>
            <a:lvl1pPr algn="ctr">
              <a:buNone/>
              <a:defRPr sz="11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2015</a:t>
            </a:r>
          </a:p>
        </p:txBody>
      </p:sp>
      <p:sp>
        <p:nvSpPr>
          <p:cNvPr id="82" name="Rechteck 81"/>
          <p:cNvSpPr/>
          <p:nvPr userDrawn="1">
            <p:custDataLst>
              <p:tags r:id="rId54"/>
            </p:custDataLst>
          </p:nvPr>
        </p:nvSpPr>
        <p:spPr bwMode="gray">
          <a:xfrm rot="16200000">
            <a:off x="124980" y="3555993"/>
            <a:ext cx="648000" cy="287954"/>
          </a:xfrm>
          <a:prstGeom prst="rect">
            <a:avLst/>
          </a:prstGeom>
          <a:gradFill flip="none" rotWithShape="1">
            <a:gsLst>
              <a:gs pos="30000">
                <a:schemeClr val="tx2"/>
              </a:gs>
              <a:gs pos="100000">
                <a:schemeClr val="tx2">
                  <a:lumMod val="60000"/>
                  <a:lumOff val="40000"/>
                </a:schemeClr>
              </a:gs>
            </a:gsLst>
            <a:lin ang="16200000" scaled="1"/>
            <a:tileRect/>
          </a:gra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90000" bIns="46800" rtlCol="0" anchor="ctr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5C5D"/>
              </a:buClr>
            </a:pPr>
            <a:endParaRPr kumimoji="0" lang="en-US" sz="1200" dirty="0" smtClean="0">
              <a:solidFill>
                <a:srgbClr val="FFFFFF"/>
              </a:solidFill>
            </a:endParaRPr>
          </a:p>
        </p:txBody>
      </p:sp>
      <p:sp>
        <p:nvSpPr>
          <p:cNvPr id="83" name="Text Placeholder 8"/>
          <p:cNvSpPr>
            <a:spLocks noGrp="1"/>
          </p:cNvSpPr>
          <p:nvPr>
            <p:ph type="body" sz="quarter" idx="28" hasCustomPrompt="1"/>
            <p:custDataLst>
              <p:tags r:id="rId55"/>
            </p:custDataLst>
          </p:nvPr>
        </p:nvSpPr>
        <p:spPr bwMode="gray">
          <a:xfrm rot="16200000">
            <a:off x="31374" y="3506354"/>
            <a:ext cx="860868" cy="287804"/>
          </a:xfrm>
        </p:spPr>
        <p:txBody>
          <a:bodyPr vert="horz" lIns="90000" tIns="0" rIns="90000" bIns="0" rtlCol="0" anchor="ctr" anchorCtr="0">
            <a:noAutofit/>
          </a:bodyPr>
          <a:lstStyle>
            <a:lvl1pPr algn="ctr">
              <a:buNone/>
              <a:defRPr lang="en-US" sz="12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516"/>
              </a:spcBef>
              <a:spcAft>
                <a:spcPts val="288"/>
              </a:spcAft>
              <a:buClr>
                <a:schemeClr val="accent2"/>
              </a:buClr>
              <a:buFont typeface="Wingdings" pitchFamily="2" charset="2"/>
              <a:buNone/>
            </a:pPr>
            <a:r>
              <a:rPr lang="en-US" dirty="0" smtClean="0"/>
              <a:t>All-round</a:t>
            </a:r>
          </a:p>
        </p:txBody>
      </p:sp>
      <p:sp>
        <p:nvSpPr>
          <p:cNvPr id="77" name="Text Placeholder 8"/>
          <p:cNvSpPr>
            <a:spLocks noGrp="1"/>
          </p:cNvSpPr>
          <p:nvPr>
            <p:ph type="body" sz="quarter" idx="26" hasCustomPrompt="1"/>
            <p:custDataLst>
              <p:tags r:id="rId56"/>
            </p:custDataLst>
          </p:nvPr>
        </p:nvSpPr>
        <p:spPr bwMode="gray">
          <a:xfrm rot="16200000">
            <a:off x="122180" y="1303921"/>
            <a:ext cx="663678" cy="287804"/>
          </a:xfrm>
        </p:spPr>
        <p:txBody>
          <a:bodyPr vert="horz" lIns="36000" tIns="0" rIns="36000" bIns="0" rtlCol="0" anchor="ctr" anchorCtr="0">
            <a:noAutofit/>
          </a:bodyPr>
          <a:lstStyle>
            <a:lvl1pPr algn="r">
              <a:buNone/>
              <a:defRPr lang="en-US" sz="12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516"/>
              </a:spcBef>
              <a:spcAft>
                <a:spcPts val="288"/>
              </a:spcAft>
              <a:buClr>
                <a:schemeClr val="accent2"/>
              </a:buClr>
              <a:buFont typeface="Wingdings" pitchFamily="2" charset="2"/>
              <a:buNone/>
            </a:pPr>
            <a:r>
              <a:rPr lang="en-US" dirty="0" smtClean="0"/>
              <a:t>Superior</a:t>
            </a:r>
          </a:p>
        </p:txBody>
      </p:sp>
      <p:sp>
        <p:nvSpPr>
          <p:cNvPr id="90" name="Rectangle 23"/>
          <p:cNvSpPr>
            <a:spLocks noChangeArrowheads="1"/>
          </p:cNvSpPr>
          <p:nvPr userDrawn="1"/>
        </p:nvSpPr>
        <p:spPr bwMode="gray">
          <a:xfrm>
            <a:off x="7449687" y="4982134"/>
            <a:ext cx="1433513" cy="141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dirty="0">
                <a:latin typeface="+mn-lt"/>
              </a:rPr>
              <a:t>Copyright </a:t>
            </a:r>
            <a:r>
              <a:rPr lang="en-US" altLang="ja-JP" sz="800" dirty="0" smtClean="0">
                <a:latin typeface="+mn-lt"/>
              </a:rPr>
              <a:t>2016 </a:t>
            </a:r>
            <a:r>
              <a:rPr lang="en-US" altLang="ja-JP" sz="800" dirty="0">
                <a:latin typeface="+mn-lt"/>
              </a:rPr>
              <a:t>FUJITSU</a:t>
            </a:r>
          </a:p>
        </p:txBody>
      </p:sp>
      <p:sp>
        <p:nvSpPr>
          <p:cNvPr id="84" name="Rectangle 242"/>
          <p:cNvSpPr>
            <a:spLocks noChangeArrowheads="1"/>
          </p:cNvSpPr>
          <p:nvPr userDrawn="1"/>
        </p:nvSpPr>
        <p:spPr bwMode="gray">
          <a:xfrm>
            <a:off x="4067944" y="4588568"/>
            <a:ext cx="288032" cy="144463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tx2"/>
            </a:solidFill>
            <a:prstDash val="solid"/>
            <a:headEnd type="none" w="med" len="med"/>
            <a:tailEnd type="none" w="med" len="med"/>
          </a:ln>
          <a:effectLst/>
        </p:spPr>
        <p:txBody>
          <a:bodyPr wrap="square" lIns="90000" tIns="46800" rIns="90000" bIns="46800" anchor="ctr"/>
          <a:lstStyle/>
          <a:p>
            <a:pPr algn="l">
              <a:spcBef>
                <a:spcPts val="0"/>
              </a:spcBef>
              <a:spcAft>
                <a:spcPts val="0"/>
              </a:spcAft>
              <a:defRPr/>
            </a:pPr>
            <a:endParaRPr kumimoji="0" lang="en-US" altLang="ja-JP" sz="1100" b="1" kern="0">
              <a:latin typeface="Arial"/>
              <a:cs typeface="Arial"/>
            </a:endParaRPr>
          </a:p>
        </p:txBody>
      </p:sp>
      <p:sp>
        <p:nvSpPr>
          <p:cNvPr id="85" name="Rectangle 246"/>
          <p:cNvSpPr>
            <a:spLocks noChangeArrowheads="1"/>
          </p:cNvSpPr>
          <p:nvPr userDrawn="1"/>
        </p:nvSpPr>
        <p:spPr bwMode="gray">
          <a:xfrm>
            <a:off x="1691680" y="4588569"/>
            <a:ext cx="288032" cy="144462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75000"/>
                </a:schemeClr>
              </a:gs>
              <a:gs pos="50000">
                <a:schemeClr val="bg1">
                  <a:lumMod val="75000"/>
                </a:schemeClr>
              </a:gs>
              <a:gs pos="100000">
                <a:schemeClr val="bg2">
                  <a:shade val="100000"/>
                  <a:satMod val="115000"/>
                </a:schemeClr>
              </a:gs>
            </a:gsLst>
            <a:lin ang="5400000" scaled="1"/>
            <a:tileRect/>
          </a:gra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wrap="square" lIns="90000" tIns="46800" rIns="90000" bIns="46800" anchor="ctr"/>
          <a:lstStyle/>
          <a:p>
            <a:pPr algn="l" eaLnBrk="0" hangingPunct="0">
              <a:spcBef>
                <a:spcPts val="0"/>
              </a:spcBef>
              <a:spcAft>
                <a:spcPts val="0"/>
              </a:spcAft>
            </a:pPr>
            <a:endParaRPr kumimoji="0" lang="en-US" altLang="ja-JP" sz="1100" b="1" kern="0">
              <a:solidFill>
                <a:srgbClr val="FFFFFF"/>
              </a:solidFill>
              <a:latin typeface="Arial"/>
              <a:ea typeface="+mn-ea"/>
            </a:endParaRPr>
          </a:p>
        </p:txBody>
      </p:sp>
      <p:sp>
        <p:nvSpPr>
          <p:cNvPr id="86" name="Rectangle 247"/>
          <p:cNvSpPr>
            <a:spLocks noChangeArrowheads="1"/>
          </p:cNvSpPr>
          <p:nvPr userDrawn="1"/>
        </p:nvSpPr>
        <p:spPr bwMode="gray">
          <a:xfrm>
            <a:off x="1979712" y="4588568"/>
            <a:ext cx="1557338" cy="1444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90000" tIns="46800" rIns="90000" bIns="46800" anchor="ctr" anchorCtr="0">
            <a:noAutofit/>
          </a:bodyPr>
          <a:lstStyle/>
          <a:p>
            <a:pPr algn="l" defTabSz="74295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ja-JP" sz="900" kern="0" dirty="0" smtClean="0">
                <a:solidFill>
                  <a:sysClr val="windowText" lastClr="000000"/>
                </a:solidFill>
                <a:latin typeface="Arial"/>
                <a:ea typeface="+mn-ea"/>
              </a:rPr>
              <a:t>EOL as long as stock lasts</a:t>
            </a:r>
          </a:p>
        </p:txBody>
      </p:sp>
      <p:sp>
        <p:nvSpPr>
          <p:cNvPr id="87" name="Rectangle 242"/>
          <p:cNvSpPr>
            <a:spLocks noChangeArrowheads="1"/>
          </p:cNvSpPr>
          <p:nvPr userDrawn="1"/>
        </p:nvSpPr>
        <p:spPr bwMode="gray">
          <a:xfrm>
            <a:off x="1403648" y="4588568"/>
            <a:ext cx="288032" cy="144463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tx2"/>
            </a:solidFill>
            <a:prstDash val="solid"/>
            <a:headEnd type="none" w="med" len="med"/>
            <a:tailEnd type="none" w="med" len="med"/>
          </a:ln>
          <a:effectLst/>
        </p:spPr>
        <p:txBody>
          <a:bodyPr wrap="square" lIns="90000" tIns="46800" rIns="90000" bIns="46800" anchor="ctr"/>
          <a:lstStyle/>
          <a:p>
            <a:pPr algn="l">
              <a:spcBef>
                <a:spcPts val="0"/>
              </a:spcBef>
              <a:spcAft>
                <a:spcPts val="0"/>
              </a:spcAft>
              <a:defRPr/>
            </a:pPr>
            <a:endParaRPr kumimoji="0" lang="en-US" altLang="ja-JP" sz="1100" b="1" kern="0">
              <a:latin typeface="Arial"/>
              <a:cs typeface="Arial"/>
            </a:endParaRPr>
          </a:p>
        </p:txBody>
      </p:sp>
      <p:sp>
        <p:nvSpPr>
          <p:cNvPr id="88" name="Rectangle 243"/>
          <p:cNvSpPr>
            <a:spLocks noChangeArrowheads="1"/>
          </p:cNvSpPr>
          <p:nvPr userDrawn="1"/>
        </p:nvSpPr>
        <p:spPr bwMode="gray">
          <a:xfrm>
            <a:off x="4355976" y="4588568"/>
            <a:ext cx="2256284" cy="1444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90000" tIns="46800" rIns="90000" bIns="46800" anchor="ctr" anchorCtr="0">
            <a:noAutofit/>
          </a:bodyPr>
          <a:lstStyle/>
          <a:p>
            <a:pPr algn="l" defTabSz="74295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ja-JP" sz="900" kern="0" dirty="0" smtClean="0">
                <a:solidFill>
                  <a:sysClr val="windowText" lastClr="000000"/>
                </a:solidFill>
                <a:latin typeface="Arial"/>
                <a:ea typeface="+mn-ea"/>
              </a:rPr>
              <a:t>Roadmap product</a:t>
            </a:r>
          </a:p>
        </p:txBody>
      </p:sp>
    </p:spTree>
    <p:extLst>
      <p:ext uri="{BB962C8B-B14F-4D97-AF65-F5344CB8AC3E}">
        <p14:creationId xmlns:p14="http://schemas.microsoft.com/office/powerpoint/2010/main" val="3590176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5" name="Eine Ecke des Rechtecks abrunden 4"/>
          <p:cNvSpPr/>
          <p:nvPr>
            <p:custDataLst>
              <p:tags r:id="rId1"/>
            </p:custDataLst>
          </p:nvPr>
        </p:nvSpPr>
        <p:spPr bwMode="gray">
          <a:xfrm>
            <a:off x="395536" y="936000"/>
            <a:ext cx="8640514" cy="576000"/>
          </a:xfrm>
          <a:prstGeom prst="round1Rect">
            <a:avLst>
              <a:gd name="adj" fmla="val 50000"/>
            </a:avLst>
          </a:prstGeom>
          <a:gradFill flip="none" rotWithShape="1">
            <a:gsLst>
              <a:gs pos="30000">
                <a:schemeClr val="tx2"/>
              </a:gs>
              <a:gs pos="100000">
                <a:schemeClr val="tx2">
                  <a:lumMod val="60000"/>
                  <a:lumOff val="40000"/>
                </a:schemeClr>
              </a:gs>
            </a:gsLst>
            <a:lin ang="16200000" scaled="1"/>
            <a:tileRect/>
          </a:gra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  <a:buClr>
                <a:srgbClr val="005C5D"/>
              </a:buClr>
              <a:buFont typeface="Wingdings" pitchFamily="2" charset="2"/>
              <a:buNone/>
            </a:pPr>
            <a:r>
              <a:rPr kumimoji="0" lang="en-US" sz="1400" dirty="0" smtClean="0">
                <a:solidFill>
                  <a:srgbClr val="FFFFFF"/>
                </a:solidFill>
              </a:rPr>
              <a:t> </a:t>
            </a:r>
          </a:p>
          <a:p>
            <a:pPr algn="l" fontAlgn="auto">
              <a:spcBef>
                <a:spcPts val="0"/>
              </a:spcBef>
              <a:spcAft>
                <a:spcPts val="0"/>
              </a:spcAft>
              <a:buClr>
                <a:srgbClr val="005C5D"/>
              </a:buClr>
              <a:buFont typeface="Wingdings" pitchFamily="2" charset="2"/>
              <a:buNone/>
            </a:pPr>
            <a:endParaRPr kumimoji="0" lang="en-US" sz="1400" dirty="0" smtClean="0">
              <a:solidFill>
                <a:srgbClr val="FFFFFF"/>
              </a:solidFill>
            </a:endParaRPr>
          </a:p>
          <a:p>
            <a:pPr algn="l" fontAlgn="auto">
              <a:spcBef>
                <a:spcPts val="0"/>
              </a:spcBef>
              <a:spcAft>
                <a:spcPts val="0"/>
              </a:spcAft>
              <a:buClr>
                <a:srgbClr val="005C5D"/>
              </a:buClr>
              <a:buFont typeface="Wingdings" pitchFamily="2" charset="2"/>
              <a:buNone/>
            </a:pPr>
            <a:endParaRPr kumimoji="0" lang="en-US" sz="1400" dirty="0" smtClean="0">
              <a:solidFill>
                <a:srgbClr val="FFFFFF"/>
              </a:solidFill>
            </a:endParaRPr>
          </a:p>
        </p:txBody>
      </p:sp>
      <p:sp>
        <p:nvSpPr>
          <p:cNvPr id="6" name="Rechteck 5"/>
          <p:cNvSpPr/>
          <p:nvPr>
            <p:custDataLst>
              <p:tags r:id="rId2"/>
            </p:custDataLst>
          </p:nvPr>
        </p:nvSpPr>
        <p:spPr bwMode="gray">
          <a:xfrm>
            <a:off x="395536" y="1196340"/>
            <a:ext cx="8640000" cy="2628412"/>
          </a:xfrm>
          <a:prstGeom prst="rect">
            <a:avLst/>
          </a:prstGeom>
          <a:gradFill flip="none" rotWithShape="1">
            <a:gsLst>
              <a:gs pos="0">
                <a:schemeClr val="bg2"/>
              </a:gs>
              <a:gs pos="100000">
                <a:schemeClr val="bg1"/>
              </a:gs>
            </a:gsLst>
            <a:path path="circle">
              <a:fillToRect r="100000" b="100000"/>
            </a:path>
            <a:tileRect l="-100000" t="-10000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t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b="1" dirty="0" smtClean="0">
              <a:solidFill>
                <a:srgbClr val="000000"/>
              </a:solidFill>
            </a:endParaRPr>
          </a:p>
        </p:txBody>
      </p:sp>
      <p:sp>
        <p:nvSpPr>
          <p:cNvPr id="7" name="Rechteck 6"/>
          <p:cNvSpPr/>
          <p:nvPr>
            <p:custDataLst>
              <p:tags r:id="rId3"/>
            </p:custDataLst>
          </p:nvPr>
        </p:nvSpPr>
        <p:spPr bwMode="gray">
          <a:xfrm>
            <a:off x="395536" y="1196754"/>
            <a:ext cx="1080120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1</a:t>
            </a:r>
          </a:p>
        </p:txBody>
      </p:sp>
      <p:sp>
        <p:nvSpPr>
          <p:cNvPr id="8" name="Rechteck 7"/>
          <p:cNvSpPr/>
          <p:nvPr>
            <p:custDataLst>
              <p:tags r:id="rId4"/>
            </p:custDataLst>
          </p:nvPr>
        </p:nvSpPr>
        <p:spPr bwMode="gray">
          <a:xfrm>
            <a:off x="1475656" y="1196754"/>
            <a:ext cx="1080120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2</a:t>
            </a:r>
          </a:p>
        </p:txBody>
      </p:sp>
      <p:sp>
        <p:nvSpPr>
          <p:cNvPr id="9" name="Rechteck 8"/>
          <p:cNvSpPr/>
          <p:nvPr>
            <p:custDataLst>
              <p:tags r:id="rId5"/>
            </p:custDataLst>
          </p:nvPr>
        </p:nvSpPr>
        <p:spPr bwMode="gray">
          <a:xfrm>
            <a:off x="2555776" y="1196754"/>
            <a:ext cx="1080120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3</a:t>
            </a:r>
          </a:p>
        </p:txBody>
      </p:sp>
      <p:sp>
        <p:nvSpPr>
          <p:cNvPr id="10" name="Rechteck 9"/>
          <p:cNvSpPr/>
          <p:nvPr>
            <p:custDataLst>
              <p:tags r:id="rId6"/>
            </p:custDataLst>
          </p:nvPr>
        </p:nvSpPr>
        <p:spPr bwMode="gray">
          <a:xfrm>
            <a:off x="3635896" y="1196754"/>
            <a:ext cx="1080120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4</a:t>
            </a:r>
          </a:p>
        </p:txBody>
      </p:sp>
      <p:sp>
        <p:nvSpPr>
          <p:cNvPr id="11" name="Rechteck 10"/>
          <p:cNvSpPr/>
          <p:nvPr>
            <p:custDataLst>
              <p:tags r:id="rId7"/>
            </p:custDataLst>
          </p:nvPr>
        </p:nvSpPr>
        <p:spPr bwMode="gray">
          <a:xfrm>
            <a:off x="4716016" y="1196754"/>
            <a:ext cx="1080120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1</a:t>
            </a:r>
          </a:p>
        </p:txBody>
      </p:sp>
      <p:sp>
        <p:nvSpPr>
          <p:cNvPr id="12" name="Rechteck 11"/>
          <p:cNvSpPr/>
          <p:nvPr>
            <p:custDataLst>
              <p:tags r:id="rId8"/>
            </p:custDataLst>
          </p:nvPr>
        </p:nvSpPr>
        <p:spPr bwMode="gray">
          <a:xfrm>
            <a:off x="5796136" y="1196754"/>
            <a:ext cx="1080120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2</a:t>
            </a:r>
          </a:p>
        </p:txBody>
      </p:sp>
      <p:sp>
        <p:nvSpPr>
          <p:cNvPr id="13" name="Rechteck 12"/>
          <p:cNvSpPr/>
          <p:nvPr>
            <p:custDataLst>
              <p:tags r:id="rId9"/>
            </p:custDataLst>
          </p:nvPr>
        </p:nvSpPr>
        <p:spPr bwMode="gray">
          <a:xfrm>
            <a:off x="6876256" y="1196754"/>
            <a:ext cx="1080120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3</a:t>
            </a:r>
          </a:p>
        </p:txBody>
      </p:sp>
      <p:cxnSp>
        <p:nvCxnSpPr>
          <p:cNvPr id="16" name="Gerade Verbindung 15"/>
          <p:cNvCxnSpPr/>
          <p:nvPr>
            <p:custDataLst>
              <p:tags r:id="rId10"/>
            </p:custDataLst>
          </p:nvPr>
        </p:nvCxnSpPr>
        <p:spPr>
          <a:xfrm rot="5400000">
            <a:off x="2195896" y="2637299"/>
            <a:ext cx="2880000" cy="0"/>
          </a:xfrm>
          <a:prstGeom prst="line">
            <a:avLst/>
          </a:prstGeom>
          <a:ln w="1270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7"/>
          <p:cNvSpPr/>
          <p:nvPr>
            <p:custDataLst>
              <p:tags r:id="rId11"/>
            </p:custDataLst>
          </p:nvPr>
        </p:nvSpPr>
        <p:spPr bwMode="gray">
          <a:xfrm>
            <a:off x="7956376" y="1196752"/>
            <a:ext cx="107967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4</a:t>
            </a:r>
          </a:p>
        </p:txBody>
      </p:sp>
      <p:cxnSp>
        <p:nvCxnSpPr>
          <p:cNvPr id="19" name="Gerade Verbindung 18"/>
          <p:cNvCxnSpPr/>
          <p:nvPr>
            <p:custDataLst>
              <p:tags r:id="rId12"/>
            </p:custDataLst>
          </p:nvPr>
        </p:nvCxnSpPr>
        <p:spPr>
          <a:xfrm rot="5400000">
            <a:off x="6516376" y="2637299"/>
            <a:ext cx="2880000" cy="0"/>
          </a:xfrm>
          <a:prstGeom prst="line">
            <a:avLst/>
          </a:prstGeom>
          <a:ln w="1270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>
            <p:custDataLst>
              <p:tags r:id="rId13"/>
            </p:custDataLst>
          </p:nvPr>
        </p:nvCxnSpPr>
        <p:spPr>
          <a:xfrm rot="5400000">
            <a:off x="5436256" y="2637299"/>
            <a:ext cx="2880000" cy="0"/>
          </a:xfrm>
          <a:prstGeom prst="line">
            <a:avLst/>
          </a:prstGeom>
          <a:ln w="1270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>
            <p:custDataLst>
              <p:tags r:id="rId14"/>
            </p:custDataLst>
          </p:nvPr>
        </p:nvCxnSpPr>
        <p:spPr>
          <a:xfrm rot="5400000">
            <a:off x="1115776" y="2637299"/>
            <a:ext cx="2880000" cy="0"/>
          </a:xfrm>
          <a:prstGeom prst="line">
            <a:avLst/>
          </a:prstGeom>
          <a:ln w="1270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>
            <p:custDataLst>
              <p:tags r:id="rId15"/>
            </p:custDataLst>
          </p:nvPr>
        </p:nvCxnSpPr>
        <p:spPr>
          <a:xfrm flipH="1">
            <a:off x="1470212" y="1197299"/>
            <a:ext cx="5444" cy="2854748"/>
          </a:xfrm>
          <a:prstGeom prst="line">
            <a:avLst/>
          </a:prstGeom>
          <a:ln w="1270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>
            <p:custDataLst>
              <p:tags r:id="rId16"/>
            </p:custDataLst>
          </p:nvPr>
        </p:nvCxnSpPr>
        <p:spPr>
          <a:xfrm>
            <a:off x="5796136" y="1197299"/>
            <a:ext cx="8511" cy="2868195"/>
          </a:xfrm>
          <a:prstGeom prst="line">
            <a:avLst/>
          </a:prstGeom>
          <a:ln w="1270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hteck 23"/>
          <p:cNvSpPr/>
          <p:nvPr>
            <p:custDataLst>
              <p:tags r:id="rId17"/>
            </p:custDataLst>
          </p:nvPr>
        </p:nvSpPr>
        <p:spPr bwMode="gray">
          <a:xfrm>
            <a:off x="395536" y="1196752"/>
            <a:ext cx="360040" cy="2628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25" name="Rechteck 24"/>
          <p:cNvSpPr/>
          <p:nvPr>
            <p:custDataLst>
              <p:tags r:id="rId18"/>
            </p:custDataLst>
          </p:nvPr>
        </p:nvSpPr>
        <p:spPr bwMode="gray">
          <a:xfrm>
            <a:off x="755576" y="1196752"/>
            <a:ext cx="360040" cy="2628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26" name="Rechteck 25"/>
          <p:cNvSpPr/>
          <p:nvPr>
            <p:custDataLst>
              <p:tags r:id="rId19"/>
            </p:custDataLst>
          </p:nvPr>
        </p:nvSpPr>
        <p:spPr bwMode="gray">
          <a:xfrm>
            <a:off x="1115616" y="1196752"/>
            <a:ext cx="360040" cy="2628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27" name="Rechteck 26"/>
          <p:cNvSpPr/>
          <p:nvPr>
            <p:custDataLst>
              <p:tags r:id="rId20"/>
            </p:custDataLst>
          </p:nvPr>
        </p:nvSpPr>
        <p:spPr bwMode="gray">
          <a:xfrm>
            <a:off x="1475656" y="1196752"/>
            <a:ext cx="360040" cy="2628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28" name="Rechteck 27"/>
          <p:cNvSpPr/>
          <p:nvPr>
            <p:custDataLst>
              <p:tags r:id="rId21"/>
            </p:custDataLst>
          </p:nvPr>
        </p:nvSpPr>
        <p:spPr bwMode="gray">
          <a:xfrm>
            <a:off x="1835696" y="1196752"/>
            <a:ext cx="360040" cy="2628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29" name="Rechteck 28"/>
          <p:cNvSpPr/>
          <p:nvPr>
            <p:custDataLst>
              <p:tags r:id="rId22"/>
            </p:custDataLst>
          </p:nvPr>
        </p:nvSpPr>
        <p:spPr bwMode="gray">
          <a:xfrm>
            <a:off x="2195736" y="1196752"/>
            <a:ext cx="360040" cy="2628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0" name="Rechteck 29"/>
          <p:cNvSpPr/>
          <p:nvPr>
            <p:custDataLst>
              <p:tags r:id="rId23"/>
            </p:custDataLst>
          </p:nvPr>
        </p:nvSpPr>
        <p:spPr bwMode="gray">
          <a:xfrm>
            <a:off x="2555776" y="1196752"/>
            <a:ext cx="360040" cy="2628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1" name="Rechteck 30"/>
          <p:cNvSpPr/>
          <p:nvPr>
            <p:custDataLst>
              <p:tags r:id="rId24"/>
            </p:custDataLst>
          </p:nvPr>
        </p:nvSpPr>
        <p:spPr bwMode="gray">
          <a:xfrm>
            <a:off x="2915816" y="1196752"/>
            <a:ext cx="360040" cy="2628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2" name="Rechteck 31"/>
          <p:cNvSpPr/>
          <p:nvPr>
            <p:custDataLst>
              <p:tags r:id="rId25"/>
            </p:custDataLst>
          </p:nvPr>
        </p:nvSpPr>
        <p:spPr bwMode="gray">
          <a:xfrm>
            <a:off x="3275856" y="1196752"/>
            <a:ext cx="360040" cy="2628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3" name="Rechteck 32"/>
          <p:cNvSpPr/>
          <p:nvPr>
            <p:custDataLst>
              <p:tags r:id="rId26"/>
            </p:custDataLst>
          </p:nvPr>
        </p:nvSpPr>
        <p:spPr bwMode="gray">
          <a:xfrm>
            <a:off x="3635896" y="1196752"/>
            <a:ext cx="360040" cy="2628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4" name="Rechteck 33"/>
          <p:cNvSpPr/>
          <p:nvPr>
            <p:custDataLst>
              <p:tags r:id="rId27"/>
            </p:custDataLst>
          </p:nvPr>
        </p:nvSpPr>
        <p:spPr bwMode="gray">
          <a:xfrm>
            <a:off x="3995936" y="1196752"/>
            <a:ext cx="360040" cy="2628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5" name="Rechteck 34"/>
          <p:cNvSpPr/>
          <p:nvPr>
            <p:custDataLst>
              <p:tags r:id="rId28"/>
            </p:custDataLst>
          </p:nvPr>
        </p:nvSpPr>
        <p:spPr bwMode="gray">
          <a:xfrm>
            <a:off x="4355976" y="1196752"/>
            <a:ext cx="360040" cy="2628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6" name="Rechteck 35"/>
          <p:cNvSpPr/>
          <p:nvPr>
            <p:custDataLst>
              <p:tags r:id="rId29"/>
            </p:custDataLst>
          </p:nvPr>
        </p:nvSpPr>
        <p:spPr bwMode="gray">
          <a:xfrm>
            <a:off x="4716016" y="1196752"/>
            <a:ext cx="360040" cy="2628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7" name="Rechteck 36"/>
          <p:cNvSpPr/>
          <p:nvPr>
            <p:custDataLst>
              <p:tags r:id="rId30"/>
            </p:custDataLst>
          </p:nvPr>
        </p:nvSpPr>
        <p:spPr bwMode="gray">
          <a:xfrm>
            <a:off x="5076056" y="1196752"/>
            <a:ext cx="360040" cy="2628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8" name="Rechteck 37"/>
          <p:cNvSpPr/>
          <p:nvPr>
            <p:custDataLst>
              <p:tags r:id="rId31"/>
            </p:custDataLst>
          </p:nvPr>
        </p:nvSpPr>
        <p:spPr bwMode="gray">
          <a:xfrm>
            <a:off x="5436096" y="1196752"/>
            <a:ext cx="360040" cy="2628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9" name="Rechteck 38"/>
          <p:cNvSpPr/>
          <p:nvPr>
            <p:custDataLst>
              <p:tags r:id="rId32"/>
            </p:custDataLst>
          </p:nvPr>
        </p:nvSpPr>
        <p:spPr bwMode="gray">
          <a:xfrm>
            <a:off x="5796136" y="1196752"/>
            <a:ext cx="360040" cy="2628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40" name="Rechteck 39"/>
          <p:cNvSpPr/>
          <p:nvPr>
            <p:custDataLst>
              <p:tags r:id="rId33"/>
            </p:custDataLst>
          </p:nvPr>
        </p:nvSpPr>
        <p:spPr bwMode="gray">
          <a:xfrm>
            <a:off x="6156176" y="1196752"/>
            <a:ext cx="360040" cy="2628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41" name="Rechteck 40"/>
          <p:cNvSpPr/>
          <p:nvPr>
            <p:custDataLst>
              <p:tags r:id="rId34"/>
            </p:custDataLst>
          </p:nvPr>
        </p:nvSpPr>
        <p:spPr bwMode="gray">
          <a:xfrm>
            <a:off x="6516216" y="1196752"/>
            <a:ext cx="360040" cy="2628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42" name="Rechteck 41"/>
          <p:cNvSpPr/>
          <p:nvPr>
            <p:custDataLst>
              <p:tags r:id="rId35"/>
            </p:custDataLst>
          </p:nvPr>
        </p:nvSpPr>
        <p:spPr bwMode="gray">
          <a:xfrm>
            <a:off x="6876256" y="1196752"/>
            <a:ext cx="360040" cy="2628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43" name="Rechteck 42"/>
          <p:cNvSpPr/>
          <p:nvPr>
            <p:custDataLst>
              <p:tags r:id="rId36"/>
            </p:custDataLst>
          </p:nvPr>
        </p:nvSpPr>
        <p:spPr bwMode="gray">
          <a:xfrm>
            <a:off x="7236296" y="1196752"/>
            <a:ext cx="360040" cy="2628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44" name="Rechteck 43"/>
          <p:cNvSpPr/>
          <p:nvPr>
            <p:custDataLst>
              <p:tags r:id="rId37"/>
            </p:custDataLst>
          </p:nvPr>
        </p:nvSpPr>
        <p:spPr bwMode="gray">
          <a:xfrm>
            <a:off x="7596336" y="1196752"/>
            <a:ext cx="360040" cy="2628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45" name="Rechteck 44"/>
          <p:cNvSpPr/>
          <p:nvPr>
            <p:custDataLst>
              <p:tags r:id="rId38"/>
            </p:custDataLst>
          </p:nvPr>
        </p:nvSpPr>
        <p:spPr bwMode="gray">
          <a:xfrm>
            <a:off x="7956376" y="1196752"/>
            <a:ext cx="360040" cy="2628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46" name="Rechteck 45"/>
          <p:cNvSpPr/>
          <p:nvPr>
            <p:custDataLst>
              <p:tags r:id="rId39"/>
            </p:custDataLst>
          </p:nvPr>
        </p:nvSpPr>
        <p:spPr bwMode="gray">
          <a:xfrm>
            <a:off x="8316416" y="1196752"/>
            <a:ext cx="360040" cy="2628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47" name="Rechteck 46"/>
          <p:cNvSpPr/>
          <p:nvPr>
            <p:custDataLst>
              <p:tags r:id="rId40"/>
            </p:custDataLst>
          </p:nvPr>
        </p:nvSpPr>
        <p:spPr bwMode="gray">
          <a:xfrm>
            <a:off x="8676456" y="1196752"/>
            <a:ext cx="360040" cy="2628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cxnSp>
        <p:nvCxnSpPr>
          <p:cNvPr id="48" name="Gerade Verbindung 47"/>
          <p:cNvCxnSpPr/>
          <p:nvPr>
            <p:custDataLst>
              <p:tags r:id="rId41"/>
            </p:custDataLst>
          </p:nvPr>
        </p:nvCxnSpPr>
        <p:spPr>
          <a:xfrm flipV="1">
            <a:off x="1470212" y="1196752"/>
            <a:ext cx="5444" cy="2873224"/>
          </a:xfrm>
          <a:prstGeom prst="line">
            <a:avLst/>
          </a:prstGeom>
          <a:ln w="1270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 Verbindung 48"/>
          <p:cNvCxnSpPr/>
          <p:nvPr>
            <p:custDataLst>
              <p:tags r:id="rId42"/>
            </p:custDataLst>
          </p:nvPr>
        </p:nvCxnSpPr>
        <p:spPr>
          <a:xfrm rot="5400000" flipH="1" flipV="1">
            <a:off x="1115776" y="2636752"/>
            <a:ext cx="2880000" cy="0"/>
          </a:xfrm>
          <a:prstGeom prst="line">
            <a:avLst/>
          </a:prstGeom>
          <a:ln w="1270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49"/>
          <p:cNvCxnSpPr/>
          <p:nvPr>
            <p:custDataLst>
              <p:tags r:id="rId43"/>
            </p:custDataLst>
          </p:nvPr>
        </p:nvCxnSpPr>
        <p:spPr>
          <a:xfrm rot="5400000" flipH="1" flipV="1">
            <a:off x="2195896" y="2636752"/>
            <a:ext cx="2880000" cy="0"/>
          </a:xfrm>
          <a:prstGeom prst="line">
            <a:avLst/>
          </a:prstGeom>
          <a:ln w="1270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rade Verbindung 51"/>
          <p:cNvCxnSpPr/>
          <p:nvPr>
            <p:custDataLst>
              <p:tags r:id="rId44"/>
            </p:custDataLst>
          </p:nvPr>
        </p:nvCxnSpPr>
        <p:spPr>
          <a:xfrm rot="5400000" flipH="1" flipV="1">
            <a:off x="5436256" y="2636752"/>
            <a:ext cx="2880000" cy="0"/>
          </a:xfrm>
          <a:prstGeom prst="line">
            <a:avLst/>
          </a:prstGeom>
          <a:ln w="1270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 Verbindung 52"/>
          <p:cNvCxnSpPr/>
          <p:nvPr>
            <p:custDataLst>
              <p:tags r:id="rId45"/>
            </p:custDataLst>
          </p:nvPr>
        </p:nvCxnSpPr>
        <p:spPr>
          <a:xfrm rot="5400000" flipH="1" flipV="1">
            <a:off x="6516376" y="2636752"/>
            <a:ext cx="2880000" cy="0"/>
          </a:xfrm>
          <a:prstGeom prst="line">
            <a:avLst/>
          </a:prstGeom>
          <a:ln w="1270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Rectangle 241"/>
          <p:cNvSpPr>
            <a:spLocks noChangeArrowheads="1"/>
          </p:cNvSpPr>
          <p:nvPr/>
        </p:nvSpPr>
        <p:spPr bwMode="gray">
          <a:xfrm>
            <a:off x="180229" y="4731543"/>
            <a:ext cx="8784383" cy="1444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90000" tIns="46800" rIns="90000" bIns="46800" anchor="ctr" anchorCtr="0">
            <a:noAutofit/>
          </a:bodyPr>
          <a:lstStyle/>
          <a:p>
            <a:pPr algn="l" defTabSz="74295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ja-JP" sz="800" kern="0" dirty="0" smtClean="0">
                <a:solidFill>
                  <a:sysClr val="windowText" lastClr="000000"/>
                </a:solidFill>
                <a:latin typeface="Arial"/>
                <a:ea typeface="+mn-ea"/>
              </a:rPr>
              <a:t>All dates are subject to change </a:t>
            </a:r>
          </a:p>
        </p:txBody>
      </p:sp>
      <p:sp>
        <p:nvSpPr>
          <p:cNvPr id="110" name="Rechteck 109"/>
          <p:cNvSpPr/>
          <p:nvPr>
            <p:custDataLst>
              <p:tags r:id="rId46"/>
            </p:custDataLst>
          </p:nvPr>
        </p:nvSpPr>
        <p:spPr bwMode="gray">
          <a:xfrm rot="16200000">
            <a:off x="-1057388" y="2371387"/>
            <a:ext cx="2618776" cy="287954"/>
          </a:xfrm>
          <a:prstGeom prst="rect">
            <a:avLst/>
          </a:prstGeom>
          <a:gradFill flip="none" rotWithShape="1">
            <a:gsLst>
              <a:gs pos="30000">
                <a:schemeClr val="tx2"/>
              </a:gs>
              <a:gs pos="100000">
                <a:schemeClr val="tx2">
                  <a:lumMod val="60000"/>
                  <a:lumOff val="40000"/>
                </a:schemeClr>
              </a:gs>
            </a:gsLst>
            <a:lin ang="16200000" scaled="1"/>
            <a:tileRect/>
          </a:gra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90000" bIns="46800" rtlCol="0" anchor="ctr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5C5D"/>
              </a:buClr>
            </a:pPr>
            <a:endParaRPr kumimoji="0" lang="en-US" sz="1200" dirty="0" smtClean="0">
              <a:solidFill>
                <a:srgbClr val="FFFFFF"/>
              </a:solidFill>
            </a:endParaRPr>
          </a:p>
        </p:txBody>
      </p:sp>
      <p:sp>
        <p:nvSpPr>
          <p:cNvPr id="111" name="Text Placeholder 8"/>
          <p:cNvSpPr>
            <a:spLocks noGrp="1"/>
          </p:cNvSpPr>
          <p:nvPr>
            <p:ph type="body" sz="quarter" idx="22" hasCustomPrompt="1"/>
            <p:custDataLst>
              <p:tags r:id="rId47"/>
            </p:custDataLst>
          </p:nvPr>
        </p:nvSpPr>
        <p:spPr bwMode="gray">
          <a:xfrm rot="16200000">
            <a:off x="-1057426" y="2371425"/>
            <a:ext cx="2618851" cy="287804"/>
          </a:xfrm>
        </p:spPr>
        <p:txBody>
          <a:bodyPr vert="horz" lIns="90000" tIns="0" rIns="90000" bIns="0" rtlCol="0" anchor="ctr" anchorCtr="0">
            <a:noAutofit/>
          </a:bodyPr>
          <a:lstStyle>
            <a:lvl1pPr>
              <a:buNone/>
              <a:defRPr lang="en-US" sz="12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516"/>
              </a:spcBef>
              <a:spcAft>
                <a:spcPts val="288"/>
              </a:spcAft>
              <a:buClr>
                <a:schemeClr val="accent2"/>
              </a:buClr>
              <a:buFont typeface="Wingdings" pitchFamily="2" charset="2"/>
              <a:buNone/>
            </a:pPr>
            <a:r>
              <a:rPr lang="en-US" dirty="0" smtClean="0"/>
              <a:t>Xxx</a:t>
            </a:r>
          </a:p>
        </p:txBody>
      </p:sp>
      <p:cxnSp>
        <p:nvCxnSpPr>
          <p:cNvPr id="75" name="Gerade Verbindung 74"/>
          <p:cNvCxnSpPr/>
          <p:nvPr>
            <p:custDataLst>
              <p:tags r:id="rId48"/>
            </p:custDataLst>
          </p:nvPr>
        </p:nvCxnSpPr>
        <p:spPr>
          <a:xfrm rot="5400000" flipH="1" flipV="1">
            <a:off x="3273581" y="2625871"/>
            <a:ext cx="2880000" cy="0"/>
          </a:xfrm>
          <a:prstGeom prst="line">
            <a:avLst/>
          </a:prstGeom>
          <a:ln w="1270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Text Placeholder 8"/>
          <p:cNvSpPr>
            <a:spLocks noGrp="1"/>
          </p:cNvSpPr>
          <p:nvPr>
            <p:ph type="body" sz="quarter" idx="23" hasCustomPrompt="1"/>
            <p:custDataLst>
              <p:tags r:id="rId49"/>
            </p:custDataLst>
          </p:nvPr>
        </p:nvSpPr>
        <p:spPr bwMode="gray">
          <a:xfrm>
            <a:off x="395977" y="4077299"/>
            <a:ext cx="4325923" cy="278728"/>
          </a:xfrm>
        </p:spPr>
        <p:txBody>
          <a:bodyPr lIns="90000" rIns="90000" anchor="ctr" anchorCtr="0"/>
          <a:lstStyle>
            <a:lvl1pPr algn="ctr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2016</a:t>
            </a:r>
          </a:p>
        </p:txBody>
      </p:sp>
      <p:sp>
        <p:nvSpPr>
          <p:cNvPr id="78" name="Text Placeholder 8"/>
          <p:cNvSpPr>
            <a:spLocks noGrp="1"/>
          </p:cNvSpPr>
          <p:nvPr>
            <p:ph type="body" sz="quarter" idx="24" hasCustomPrompt="1"/>
            <p:custDataLst>
              <p:tags r:id="rId50"/>
            </p:custDataLst>
          </p:nvPr>
        </p:nvSpPr>
        <p:spPr bwMode="gray">
          <a:xfrm>
            <a:off x="4717540" y="4070475"/>
            <a:ext cx="4317604" cy="288032"/>
          </a:xfrm>
        </p:spPr>
        <p:txBody>
          <a:bodyPr lIns="90000" rIns="90000" anchor="ctr" anchorCtr="0"/>
          <a:lstStyle>
            <a:lvl1pPr algn="ctr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2017</a:t>
            </a:r>
          </a:p>
        </p:txBody>
      </p:sp>
      <p:sp>
        <p:nvSpPr>
          <p:cNvPr id="79" name="Rechteck 78"/>
          <p:cNvSpPr/>
          <p:nvPr>
            <p:custDataLst>
              <p:tags r:id="rId51"/>
            </p:custDataLst>
          </p:nvPr>
        </p:nvSpPr>
        <p:spPr bwMode="gray">
          <a:xfrm>
            <a:off x="4717539" y="1196748"/>
            <a:ext cx="4317604" cy="3168000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200" b="1" dirty="0" smtClean="0">
              <a:solidFill>
                <a:srgbClr val="000000"/>
              </a:solidFill>
            </a:endParaRPr>
          </a:p>
        </p:txBody>
      </p:sp>
      <p:sp>
        <p:nvSpPr>
          <p:cNvPr id="81" name="Rechteck 80"/>
          <p:cNvSpPr/>
          <p:nvPr>
            <p:custDataLst>
              <p:tags r:id="rId52"/>
            </p:custDataLst>
          </p:nvPr>
        </p:nvSpPr>
        <p:spPr bwMode="gray">
          <a:xfrm>
            <a:off x="395977" y="1185871"/>
            <a:ext cx="4321562" cy="3178877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200" b="1" dirty="0" smtClean="0">
              <a:solidFill>
                <a:srgbClr val="000000"/>
              </a:solidFill>
            </a:endParaRPr>
          </a:p>
        </p:txBody>
      </p:sp>
      <p:sp>
        <p:nvSpPr>
          <p:cNvPr id="76" name="Rectangle 242"/>
          <p:cNvSpPr>
            <a:spLocks noChangeArrowheads="1"/>
          </p:cNvSpPr>
          <p:nvPr userDrawn="1"/>
        </p:nvSpPr>
        <p:spPr bwMode="gray">
          <a:xfrm>
            <a:off x="4067944" y="4588568"/>
            <a:ext cx="288032" cy="144463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tx2"/>
            </a:solidFill>
            <a:prstDash val="solid"/>
            <a:headEnd type="none" w="med" len="med"/>
            <a:tailEnd type="none" w="med" len="med"/>
          </a:ln>
          <a:effectLst/>
        </p:spPr>
        <p:txBody>
          <a:bodyPr wrap="square" lIns="90000" tIns="46800" rIns="90000" bIns="46800" anchor="ctr"/>
          <a:lstStyle/>
          <a:p>
            <a:pPr algn="l">
              <a:spcBef>
                <a:spcPts val="0"/>
              </a:spcBef>
              <a:spcAft>
                <a:spcPts val="0"/>
              </a:spcAft>
              <a:defRPr/>
            </a:pPr>
            <a:endParaRPr kumimoji="0" lang="en-US" altLang="ja-JP" sz="1100" b="1" kern="0">
              <a:latin typeface="Arial"/>
              <a:cs typeface="Arial"/>
            </a:endParaRPr>
          </a:p>
        </p:txBody>
      </p:sp>
      <p:sp>
        <p:nvSpPr>
          <p:cNvPr id="80" name="Rectangle 246"/>
          <p:cNvSpPr>
            <a:spLocks noChangeArrowheads="1"/>
          </p:cNvSpPr>
          <p:nvPr userDrawn="1"/>
        </p:nvSpPr>
        <p:spPr bwMode="gray">
          <a:xfrm>
            <a:off x="1691680" y="4588569"/>
            <a:ext cx="288032" cy="144462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75000"/>
                </a:schemeClr>
              </a:gs>
              <a:gs pos="50000">
                <a:schemeClr val="bg1">
                  <a:lumMod val="75000"/>
                </a:schemeClr>
              </a:gs>
              <a:gs pos="100000">
                <a:schemeClr val="bg2">
                  <a:shade val="100000"/>
                  <a:satMod val="115000"/>
                </a:schemeClr>
              </a:gs>
            </a:gsLst>
            <a:lin ang="5400000" scaled="1"/>
            <a:tileRect/>
          </a:gra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wrap="square" lIns="90000" tIns="46800" rIns="90000" bIns="46800" anchor="ctr"/>
          <a:lstStyle/>
          <a:p>
            <a:pPr algn="l" eaLnBrk="0" hangingPunct="0">
              <a:spcBef>
                <a:spcPts val="0"/>
              </a:spcBef>
              <a:spcAft>
                <a:spcPts val="0"/>
              </a:spcAft>
            </a:pPr>
            <a:endParaRPr kumimoji="0" lang="en-US" altLang="ja-JP" sz="1100" b="1" kern="0">
              <a:solidFill>
                <a:srgbClr val="FFFFFF"/>
              </a:solidFill>
              <a:latin typeface="Arial"/>
              <a:ea typeface="+mn-ea"/>
            </a:endParaRPr>
          </a:p>
        </p:txBody>
      </p:sp>
      <p:sp>
        <p:nvSpPr>
          <p:cNvPr id="82" name="Rectangle 247"/>
          <p:cNvSpPr>
            <a:spLocks noChangeArrowheads="1"/>
          </p:cNvSpPr>
          <p:nvPr userDrawn="1"/>
        </p:nvSpPr>
        <p:spPr bwMode="gray">
          <a:xfrm>
            <a:off x="1979712" y="4588568"/>
            <a:ext cx="1557338" cy="1444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90000" tIns="46800" rIns="90000" bIns="46800" anchor="ctr" anchorCtr="0">
            <a:noAutofit/>
          </a:bodyPr>
          <a:lstStyle/>
          <a:p>
            <a:pPr algn="l" defTabSz="74295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ja-JP" sz="900" kern="0" dirty="0" smtClean="0">
                <a:solidFill>
                  <a:sysClr val="windowText" lastClr="000000"/>
                </a:solidFill>
                <a:latin typeface="Arial"/>
                <a:ea typeface="+mn-ea"/>
              </a:rPr>
              <a:t>EOL as long as stock lasts</a:t>
            </a:r>
          </a:p>
        </p:txBody>
      </p:sp>
      <p:sp>
        <p:nvSpPr>
          <p:cNvPr id="83" name="Rectangle 242"/>
          <p:cNvSpPr>
            <a:spLocks noChangeArrowheads="1"/>
          </p:cNvSpPr>
          <p:nvPr userDrawn="1"/>
        </p:nvSpPr>
        <p:spPr bwMode="gray">
          <a:xfrm>
            <a:off x="1403648" y="4588568"/>
            <a:ext cx="288032" cy="144463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tx2"/>
            </a:solidFill>
            <a:prstDash val="solid"/>
            <a:headEnd type="none" w="med" len="med"/>
            <a:tailEnd type="none" w="med" len="med"/>
          </a:ln>
          <a:effectLst/>
        </p:spPr>
        <p:txBody>
          <a:bodyPr wrap="square" lIns="90000" tIns="46800" rIns="90000" bIns="46800" anchor="ctr"/>
          <a:lstStyle/>
          <a:p>
            <a:pPr algn="l">
              <a:spcBef>
                <a:spcPts val="0"/>
              </a:spcBef>
              <a:spcAft>
                <a:spcPts val="0"/>
              </a:spcAft>
              <a:defRPr/>
            </a:pPr>
            <a:endParaRPr kumimoji="0" lang="en-US" altLang="ja-JP" sz="1100" b="1" kern="0">
              <a:latin typeface="Arial"/>
              <a:cs typeface="Arial"/>
            </a:endParaRPr>
          </a:p>
        </p:txBody>
      </p:sp>
      <p:sp>
        <p:nvSpPr>
          <p:cNvPr id="84" name="Rectangle 243"/>
          <p:cNvSpPr>
            <a:spLocks noChangeArrowheads="1"/>
          </p:cNvSpPr>
          <p:nvPr userDrawn="1"/>
        </p:nvSpPr>
        <p:spPr bwMode="gray">
          <a:xfrm>
            <a:off x="4355976" y="4588568"/>
            <a:ext cx="2256284" cy="1444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90000" tIns="46800" rIns="90000" bIns="46800" anchor="ctr" anchorCtr="0">
            <a:noAutofit/>
          </a:bodyPr>
          <a:lstStyle/>
          <a:p>
            <a:pPr algn="l" defTabSz="74295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ja-JP" sz="900" kern="0" dirty="0" smtClean="0">
                <a:solidFill>
                  <a:sysClr val="windowText" lastClr="000000"/>
                </a:solidFill>
                <a:latin typeface="Arial"/>
                <a:ea typeface="+mn-ea"/>
              </a:rPr>
              <a:t>Roadmap product</a:t>
            </a:r>
          </a:p>
        </p:txBody>
      </p:sp>
    </p:spTree>
    <p:extLst>
      <p:ext uri="{BB962C8B-B14F-4D97-AF65-F5344CB8AC3E}">
        <p14:creationId xmlns:p14="http://schemas.microsoft.com/office/powerpoint/2010/main" val="1824174232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Rechteck 5"/>
          <p:cNvSpPr/>
          <p:nvPr>
            <p:custDataLst>
              <p:tags r:id="rId1"/>
            </p:custDataLst>
          </p:nvPr>
        </p:nvSpPr>
        <p:spPr bwMode="gray">
          <a:xfrm>
            <a:off x="323528" y="1116000"/>
            <a:ext cx="5472608" cy="2880000"/>
          </a:xfrm>
          <a:prstGeom prst="rect">
            <a:avLst/>
          </a:prstGeom>
          <a:gradFill flip="none" rotWithShape="1">
            <a:gsLst>
              <a:gs pos="0">
                <a:schemeClr val="bg2"/>
              </a:gs>
              <a:gs pos="100000">
                <a:schemeClr val="bg1"/>
              </a:gs>
            </a:gsLst>
            <a:path path="circle">
              <a:fillToRect r="100000" b="100000"/>
            </a:path>
            <a:tileRect l="-100000" t="-10000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t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b="1" dirty="0" smtClean="0">
              <a:solidFill>
                <a:srgbClr val="000000"/>
              </a:solidFill>
            </a:endParaRPr>
          </a:p>
        </p:txBody>
      </p:sp>
      <p:sp>
        <p:nvSpPr>
          <p:cNvPr id="7" name="Rechteck 6"/>
          <p:cNvSpPr/>
          <p:nvPr>
            <p:custDataLst>
              <p:tags r:id="rId2"/>
            </p:custDataLst>
          </p:nvPr>
        </p:nvSpPr>
        <p:spPr bwMode="gray">
          <a:xfrm rot="16200000">
            <a:off x="-975537" y="2412023"/>
            <a:ext cx="2880000" cy="287954"/>
          </a:xfrm>
          <a:prstGeom prst="rect">
            <a:avLst/>
          </a:prstGeom>
          <a:gradFill flip="none" rotWithShape="1">
            <a:gsLst>
              <a:gs pos="30000">
                <a:schemeClr val="tx2"/>
              </a:gs>
              <a:gs pos="100000">
                <a:schemeClr val="tx2">
                  <a:lumMod val="60000"/>
                  <a:lumOff val="40000"/>
                </a:schemeClr>
              </a:gs>
            </a:gsLst>
            <a:lin ang="16200000" scaled="1"/>
            <a:tileRect/>
          </a:gra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90000" bIns="46800" rtlCol="0" anchor="ctr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5C5D"/>
              </a:buClr>
            </a:pPr>
            <a:endParaRPr kumimoji="0" lang="en-US" sz="1200" dirty="0" smtClean="0">
              <a:solidFill>
                <a:srgbClr val="FFFFFF"/>
              </a:solidFill>
            </a:endParaRP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9" hasCustomPrompt="1"/>
            <p:custDataLst>
              <p:tags r:id="rId3"/>
            </p:custDataLst>
          </p:nvPr>
        </p:nvSpPr>
        <p:spPr bwMode="gray">
          <a:xfrm rot="16200000">
            <a:off x="-972494" y="2412000"/>
            <a:ext cx="2880000" cy="287804"/>
          </a:xfrm>
        </p:spPr>
        <p:txBody>
          <a:bodyPr vert="horz" lIns="90000" tIns="0" rIns="90000" bIns="0" rtlCol="0" anchor="ctr" anchorCtr="0">
            <a:noAutofit/>
          </a:bodyPr>
          <a:lstStyle>
            <a:lvl1pPr>
              <a:buNone/>
              <a:defRPr lang="en-US" sz="12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516"/>
              </a:spcBef>
              <a:spcAft>
                <a:spcPts val="288"/>
              </a:spcAft>
              <a:buClr>
                <a:schemeClr val="accent2"/>
              </a:buClr>
              <a:buFont typeface="Wingdings" pitchFamily="2" charset="2"/>
              <a:buNone/>
            </a:pPr>
            <a:r>
              <a:rPr lang="en-US" dirty="0" smtClean="0"/>
              <a:t>Xxx</a:t>
            </a:r>
          </a:p>
        </p:txBody>
      </p:sp>
      <p:sp>
        <p:nvSpPr>
          <p:cNvPr id="11" name="Eine Ecke des Rechtecks abrunden 10"/>
          <p:cNvSpPr/>
          <p:nvPr>
            <p:custDataLst>
              <p:tags r:id="rId4"/>
            </p:custDataLst>
          </p:nvPr>
        </p:nvSpPr>
        <p:spPr bwMode="gray">
          <a:xfrm>
            <a:off x="6012160" y="1124744"/>
            <a:ext cx="2952453" cy="792088"/>
          </a:xfrm>
          <a:prstGeom prst="round1Rect">
            <a:avLst>
              <a:gd name="adj" fmla="val 48101"/>
            </a:avLst>
          </a:prstGeom>
          <a:gradFill flip="none" rotWithShape="1">
            <a:gsLst>
              <a:gs pos="30000">
                <a:schemeClr val="tx2"/>
              </a:gs>
              <a:gs pos="100000">
                <a:schemeClr val="tx2">
                  <a:lumMod val="60000"/>
                  <a:lumOff val="40000"/>
                </a:schemeClr>
              </a:gs>
            </a:gsLst>
            <a:lin ang="16200000" scaled="1"/>
            <a:tileRect/>
          </a:gra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5C5D"/>
              </a:buClr>
            </a:pPr>
            <a:endParaRPr kumimoji="0" lang="en-US" sz="1400" dirty="0" smtClean="0">
              <a:solidFill>
                <a:srgbClr val="FFFFFF"/>
              </a:solidFill>
            </a:endParaRPr>
          </a:p>
        </p:txBody>
      </p:sp>
      <p:sp>
        <p:nvSpPr>
          <p:cNvPr id="12" name="Rechteck 11"/>
          <p:cNvSpPr/>
          <p:nvPr>
            <p:custDataLst>
              <p:tags r:id="rId5"/>
            </p:custDataLst>
          </p:nvPr>
        </p:nvSpPr>
        <p:spPr bwMode="gray">
          <a:xfrm>
            <a:off x="6012160" y="1556247"/>
            <a:ext cx="2952453" cy="2988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266700" lvl="1" indent="-266700" algn="l" fontAlgn="auto">
              <a:spcBef>
                <a:spcPts val="516"/>
              </a:spcBef>
              <a:spcAft>
                <a:spcPts val="288"/>
              </a:spcAft>
              <a:buClr>
                <a:srgbClr val="A30B1A"/>
              </a:buClr>
              <a:buFont typeface="Wingdings" pitchFamily="2" charset="2"/>
              <a:buChar char="n"/>
            </a:pPr>
            <a:endParaRPr kumimoji="0" lang="en-US" sz="1050" dirty="0" smtClean="0">
              <a:solidFill>
                <a:srgbClr val="000000"/>
              </a:solidFill>
            </a:endParaRP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21"/>
            <p:custDataLst>
              <p:tags r:id="rId6"/>
            </p:custDataLst>
          </p:nvPr>
        </p:nvSpPr>
        <p:spPr bwMode="gray">
          <a:xfrm>
            <a:off x="6012160" y="1125463"/>
            <a:ext cx="2952453" cy="431329"/>
          </a:xfrm>
        </p:spPr>
        <p:txBody>
          <a:bodyPr lIns="90000" anchor="ctr" anchorCtr="0"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2"/>
            <p:custDataLst>
              <p:tags r:id="rId7"/>
            </p:custDataLst>
          </p:nvPr>
        </p:nvSpPr>
        <p:spPr bwMode="gray">
          <a:xfrm>
            <a:off x="6012160" y="1556246"/>
            <a:ext cx="2952453" cy="2988000"/>
          </a:xfrm>
        </p:spPr>
        <p:txBody>
          <a:bodyPr lIns="90000" tIns="82800" rIns="90000" anchor="t" anchorCtr="0"/>
          <a:lstStyle>
            <a:lvl1pPr marL="0" indent="0">
              <a:buFont typeface="Wingdings" pitchFamily="2" charset="2"/>
              <a:buNone/>
              <a:defRPr sz="1400" b="1">
                <a:solidFill>
                  <a:schemeClr val="tx1"/>
                </a:solidFill>
              </a:defRPr>
            </a:lvl1pPr>
            <a:lvl2pPr marL="266700" indent="-266700">
              <a:buClr>
                <a:schemeClr val="accent3"/>
              </a:buClr>
              <a:defRPr sz="1400"/>
            </a:lvl2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15" name="Rechteck 14"/>
          <p:cNvSpPr/>
          <p:nvPr>
            <p:custDataLst>
              <p:tags r:id="rId8"/>
            </p:custDataLst>
          </p:nvPr>
        </p:nvSpPr>
        <p:spPr bwMode="gray">
          <a:xfrm>
            <a:off x="611560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16" name="Rechteck 15"/>
          <p:cNvSpPr/>
          <p:nvPr>
            <p:custDataLst>
              <p:tags r:id="rId9"/>
            </p:custDataLst>
          </p:nvPr>
        </p:nvSpPr>
        <p:spPr bwMode="gray">
          <a:xfrm>
            <a:off x="827584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17" name="Rechteck 16"/>
          <p:cNvSpPr/>
          <p:nvPr>
            <p:custDataLst>
              <p:tags r:id="rId10"/>
            </p:custDataLst>
          </p:nvPr>
        </p:nvSpPr>
        <p:spPr bwMode="gray">
          <a:xfrm>
            <a:off x="1043608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18" name="Rechteck 17"/>
          <p:cNvSpPr/>
          <p:nvPr>
            <p:custDataLst>
              <p:tags r:id="rId11"/>
            </p:custDataLst>
          </p:nvPr>
        </p:nvSpPr>
        <p:spPr bwMode="gray">
          <a:xfrm>
            <a:off x="611560" y="1116000"/>
            <a:ext cx="648072" cy="3132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1</a:t>
            </a:r>
          </a:p>
        </p:txBody>
      </p:sp>
      <p:sp>
        <p:nvSpPr>
          <p:cNvPr id="19" name="Rechteck 18"/>
          <p:cNvSpPr/>
          <p:nvPr>
            <p:custDataLst>
              <p:tags r:id="rId12"/>
            </p:custDataLst>
          </p:nvPr>
        </p:nvSpPr>
        <p:spPr bwMode="gray">
          <a:xfrm>
            <a:off x="1259632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20" name="Rechteck 19"/>
          <p:cNvSpPr/>
          <p:nvPr>
            <p:custDataLst>
              <p:tags r:id="rId13"/>
            </p:custDataLst>
          </p:nvPr>
        </p:nvSpPr>
        <p:spPr bwMode="gray">
          <a:xfrm>
            <a:off x="1475656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21" name="Rechteck 20"/>
          <p:cNvSpPr/>
          <p:nvPr>
            <p:custDataLst>
              <p:tags r:id="rId14"/>
            </p:custDataLst>
          </p:nvPr>
        </p:nvSpPr>
        <p:spPr bwMode="gray">
          <a:xfrm>
            <a:off x="1691680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22" name="Rechteck 21"/>
          <p:cNvSpPr/>
          <p:nvPr>
            <p:custDataLst>
              <p:tags r:id="rId15"/>
            </p:custDataLst>
          </p:nvPr>
        </p:nvSpPr>
        <p:spPr bwMode="gray">
          <a:xfrm>
            <a:off x="1259632" y="1116000"/>
            <a:ext cx="648072" cy="3132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2</a:t>
            </a:r>
          </a:p>
        </p:txBody>
      </p:sp>
      <p:sp>
        <p:nvSpPr>
          <p:cNvPr id="23" name="Rechteck 22"/>
          <p:cNvSpPr/>
          <p:nvPr>
            <p:custDataLst>
              <p:tags r:id="rId16"/>
            </p:custDataLst>
          </p:nvPr>
        </p:nvSpPr>
        <p:spPr bwMode="gray">
          <a:xfrm>
            <a:off x="1907704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24" name="Rechteck 23"/>
          <p:cNvSpPr/>
          <p:nvPr>
            <p:custDataLst>
              <p:tags r:id="rId17"/>
            </p:custDataLst>
          </p:nvPr>
        </p:nvSpPr>
        <p:spPr bwMode="gray">
          <a:xfrm>
            <a:off x="2123728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25" name="Rechteck 24"/>
          <p:cNvSpPr/>
          <p:nvPr>
            <p:custDataLst>
              <p:tags r:id="rId18"/>
            </p:custDataLst>
          </p:nvPr>
        </p:nvSpPr>
        <p:spPr bwMode="gray">
          <a:xfrm>
            <a:off x="2339752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26" name="Rechteck 25"/>
          <p:cNvSpPr/>
          <p:nvPr>
            <p:custDataLst>
              <p:tags r:id="rId19"/>
            </p:custDataLst>
          </p:nvPr>
        </p:nvSpPr>
        <p:spPr bwMode="gray">
          <a:xfrm>
            <a:off x="1907704" y="1116000"/>
            <a:ext cx="648072" cy="3132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3</a:t>
            </a:r>
          </a:p>
        </p:txBody>
      </p:sp>
      <p:sp>
        <p:nvSpPr>
          <p:cNvPr id="27" name="Rechteck 26"/>
          <p:cNvSpPr/>
          <p:nvPr>
            <p:custDataLst>
              <p:tags r:id="rId20"/>
            </p:custDataLst>
          </p:nvPr>
        </p:nvSpPr>
        <p:spPr bwMode="gray">
          <a:xfrm>
            <a:off x="2555776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28" name="Rechteck 27"/>
          <p:cNvSpPr/>
          <p:nvPr>
            <p:custDataLst>
              <p:tags r:id="rId21"/>
            </p:custDataLst>
          </p:nvPr>
        </p:nvSpPr>
        <p:spPr bwMode="gray">
          <a:xfrm>
            <a:off x="2771800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29" name="Rechteck 28"/>
          <p:cNvSpPr/>
          <p:nvPr>
            <p:custDataLst>
              <p:tags r:id="rId22"/>
            </p:custDataLst>
          </p:nvPr>
        </p:nvSpPr>
        <p:spPr bwMode="gray">
          <a:xfrm>
            <a:off x="2987824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0" name="Rechteck 29"/>
          <p:cNvSpPr/>
          <p:nvPr>
            <p:custDataLst>
              <p:tags r:id="rId23"/>
            </p:custDataLst>
          </p:nvPr>
        </p:nvSpPr>
        <p:spPr bwMode="gray">
          <a:xfrm>
            <a:off x="2555776" y="1116000"/>
            <a:ext cx="648072" cy="3132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4</a:t>
            </a:r>
          </a:p>
        </p:txBody>
      </p:sp>
      <p:sp>
        <p:nvSpPr>
          <p:cNvPr id="31" name="Rechteck 30"/>
          <p:cNvSpPr/>
          <p:nvPr>
            <p:custDataLst>
              <p:tags r:id="rId24"/>
            </p:custDataLst>
          </p:nvPr>
        </p:nvSpPr>
        <p:spPr bwMode="gray">
          <a:xfrm>
            <a:off x="3203848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2" name="Rechteck 31"/>
          <p:cNvSpPr/>
          <p:nvPr>
            <p:custDataLst>
              <p:tags r:id="rId25"/>
            </p:custDataLst>
          </p:nvPr>
        </p:nvSpPr>
        <p:spPr bwMode="gray">
          <a:xfrm>
            <a:off x="3419872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3" name="Rechteck 32"/>
          <p:cNvSpPr/>
          <p:nvPr>
            <p:custDataLst>
              <p:tags r:id="rId26"/>
            </p:custDataLst>
          </p:nvPr>
        </p:nvSpPr>
        <p:spPr bwMode="gray">
          <a:xfrm>
            <a:off x="3635896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4" name="Rechteck 33"/>
          <p:cNvSpPr/>
          <p:nvPr>
            <p:custDataLst>
              <p:tags r:id="rId27"/>
            </p:custDataLst>
          </p:nvPr>
        </p:nvSpPr>
        <p:spPr bwMode="gray">
          <a:xfrm>
            <a:off x="3203848" y="1116000"/>
            <a:ext cx="648072" cy="3132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1</a:t>
            </a:r>
          </a:p>
        </p:txBody>
      </p:sp>
      <p:sp>
        <p:nvSpPr>
          <p:cNvPr id="35" name="Rechteck 34"/>
          <p:cNvSpPr/>
          <p:nvPr>
            <p:custDataLst>
              <p:tags r:id="rId28"/>
            </p:custDataLst>
          </p:nvPr>
        </p:nvSpPr>
        <p:spPr bwMode="gray">
          <a:xfrm>
            <a:off x="3851920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6" name="Rechteck 35"/>
          <p:cNvSpPr/>
          <p:nvPr>
            <p:custDataLst>
              <p:tags r:id="rId29"/>
            </p:custDataLst>
          </p:nvPr>
        </p:nvSpPr>
        <p:spPr bwMode="gray">
          <a:xfrm>
            <a:off x="4067944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7" name="Rechteck 36"/>
          <p:cNvSpPr/>
          <p:nvPr>
            <p:custDataLst>
              <p:tags r:id="rId30"/>
            </p:custDataLst>
          </p:nvPr>
        </p:nvSpPr>
        <p:spPr bwMode="gray">
          <a:xfrm>
            <a:off x="4283968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8" name="Rechteck 37"/>
          <p:cNvSpPr/>
          <p:nvPr>
            <p:custDataLst>
              <p:tags r:id="rId31"/>
            </p:custDataLst>
          </p:nvPr>
        </p:nvSpPr>
        <p:spPr bwMode="gray">
          <a:xfrm>
            <a:off x="3851920" y="1116000"/>
            <a:ext cx="648072" cy="3132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2</a:t>
            </a:r>
          </a:p>
        </p:txBody>
      </p:sp>
      <p:sp>
        <p:nvSpPr>
          <p:cNvPr id="39" name="Rechteck 38"/>
          <p:cNvSpPr/>
          <p:nvPr>
            <p:custDataLst>
              <p:tags r:id="rId32"/>
            </p:custDataLst>
          </p:nvPr>
        </p:nvSpPr>
        <p:spPr bwMode="gray">
          <a:xfrm>
            <a:off x="4499992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40" name="Rechteck 39"/>
          <p:cNvSpPr/>
          <p:nvPr>
            <p:custDataLst>
              <p:tags r:id="rId33"/>
            </p:custDataLst>
          </p:nvPr>
        </p:nvSpPr>
        <p:spPr bwMode="gray">
          <a:xfrm>
            <a:off x="4716016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41" name="Rechteck 40"/>
          <p:cNvSpPr/>
          <p:nvPr>
            <p:custDataLst>
              <p:tags r:id="rId34"/>
            </p:custDataLst>
          </p:nvPr>
        </p:nvSpPr>
        <p:spPr bwMode="gray">
          <a:xfrm>
            <a:off x="4932040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42" name="Rechteck 41"/>
          <p:cNvSpPr/>
          <p:nvPr>
            <p:custDataLst>
              <p:tags r:id="rId35"/>
            </p:custDataLst>
          </p:nvPr>
        </p:nvSpPr>
        <p:spPr bwMode="gray">
          <a:xfrm>
            <a:off x="4499992" y="1116000"/>
            <a:ext cx="648072" cy="3132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3</a:t>
            </a:r>
          </a:p>
        </p:txBody>
      </p:sp>
      <p:sp>
        <p:nvSpPr>
          <p:cNvPr id="43" name="Rechteck 42"/>
          <p:cNvSpPr/>
          <p:nvPr>
            <p:custDataLst>
              <p:tags r:id="rId36"/>
            </p:custDataLst>
          </p:nvPr>
        </p:nvSpPr>
        <p:spPr bwMode="gray">
          <a:xfrm>
            <a:off x="5148064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44" name="Rechteck 43"/>
          <p:cNvSpPr/>
          <p:nvPr>
            <p:custDataLst>
              <p:tags r:id="rId37"/>
            </p:custDataLst>
          </p:nvPr>
        </p:nvSpPr>
        <p:spPr bwMode="gray">
          <a:xfrm>
            <a:off x="5364088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45" name="Rechteck 44"/>
          <p:cNvSpPr/>
          <p:nvPr>
            <p:custDataLst>
              <p:tags r:id="rId38"/>
            </p:custDataLst>
          </p:nvPr>
        </p:nvSpPr>
        <p:spPr bwMode="gray">
          <a:xfrm>
            <a:off x="5580112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46" name="Rechteck 45"/>
          <p:cNvSpPr/>
          <p:nvPr>
            <p:custDataLst>
              <p:tags r:id="rId39"/>
            </p:custDataLst>
          </p:nvPr>
        </p:nvSpPr>
        <p:spPr bwMode="gray">
          <a:xfrm>
            <a:off x="5148064" y="1116000"/>
            <a:ext cx="648072" cy="3132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4</a:t>
            </a:r>
          </a:p>
        </p:txBody>
      </p:sp>
      <p:cxnSp>
        <p:nvCxnSpPr>
          <p:cNvPr id="49" name="Gerade Verbindung 48"/>
          <p:cNvCxnSpPr/>
          <p:nvPr>
            <p:custDataLst>
              <p:tags r:id="rId40"/>
            </p:custDataLst>
          </p:nvPr>
        </p:nvCxnSpPr>
        <p:spPr>
          <a:xfrm flipH="1">
            <a:off x="1259541" y="1125290"/>
            <a:ext cx="91" cy="3128463"/>
          </a:xfrm>
          <a:prstGeom prst="line">
            <a:avLst/>
          </a:prstGeom>
          <a:ln w="1905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49"/>
          <p:cNvCxnSpPr/>
          <p:nvPr>
            <p:custDataLst>
              <p:tags r:id="rId41"/>
            </p:custDataLst>
          </p:nvPr>
        </p:nvCxnSpPr>
        <p:spPr>
          <a:xfrm rot="5400000">
            <a:off x="341704" y="2691290"/>
            <a:ext cx="3132000" cy="0"/>
          </a:xfrm>
          <a:prstGeom prst="line">
            <a:avLst/>
          </a:prstGeom>
          <a:ln w="1905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50"/>
          <p:cNvCxnSpPr/>
          <p:nvPr>
            <p:custDataLst>
              <p:tags r:id="rId42"/>
            </p:custDataLst>
          </p:nvPr>
        </p:nvCxnSpPr>
        <p:spPr>
          <a:xfrm rot="5400000">
            <a:off x="989776" y="2691290"/>
            <a:ext cx="3132000" cy="0"/>
          </a:xfrm>
          <a:prstGeom prst="line">
            <a:avLst/>
          </a:prstGeom>
          <a:ln w="1905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rade Verbindung 51"/>
          <p:cNvCxnSpPr/>
          <p:nvPr>
            <p:custDataLst>
              <p:tags r:id="rId43"/>
            </p:custDataLst>
          </p:nvPr>
        </p:nvCxnSpPr>
        <p:spPr>
          <a:xfrm flipH="1">
            <a:off x="3850341" y="1125290"/>
            <a:ext cx="1579" cy="3119498"/>
          </a:xfrm>
          <a:prstGeom prst="line">
            <a:avLst/>
          </a:prstGeom>
          <a:ln w="1905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 Verbindung 52"/>
          <p:cNvCxnSpPr/>
          <p:nvPr>
            <p:custDataLst>
              <p:tags r:id="rId44"/>
            </p:custDataLst>
          </p:nvPr>
        </p:nvCxnSpPr>
        <p:spPr>
          <a:xfrm rot="5400000">
            <a:off x="2933992" y="2691290"/>
            <a:ext cx="3132000" cy="0"/>
          </a:xfrm>
          <a:prstGeom prst="line">
            <a:avLst/>
          </a:prstGeom>
          <a:ln w="1905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53"/>
          <p:cNvCxnSpPr/>
          <p:nvPr>
            <p:custDataLst>
              <p:tags r:id="rId45"/>
            </p:custDataLst>
          </p:nvPr>
        </p:nvCxnSpPr>
        <p:spPr>
          <a:xfrm rot="5400000">
            <a:off x="3582064" y="2691290"/>
            <a:ext cx="3132000" cy="0"/>
          </a:xfrm>
          <a:prstGeom prst="line">
            <a:avLst/>
          </a:prstGeom>
          <a:ln w="1905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Rectangle 241"/>
          <p:cNvSpPr>
            <a:spLocks noChangeArrowheads="1"/>
          </p:cNvSpPr>
          <p:nvPr/>
        </p:nvSpPr>
        <p:spPr bwMode="gray">
          <a:xfrm>
            <a:off x="180229" y="4803551"/>
            <a:ext cx="8784383" cy="1444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90000" tIns="46800" rIns="90000" bIns="46800" anchor="ctr" anchorCtr="0">
            <a:noAutofit/>
          </a:bodyPr>
          <a:lstStyle/>
          <a:p>
            <a:pPr algn="l" defTabSz="74295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ja-JP" sz="800" kern="0" dirty="0" smtClean="0">
                <a:solidFill>
                  <a:sysClr val="windowText" lastClr="000000"/>
                </a:solidFill>
                <a:latin typeface="Arial"/>
                <a:ea typeface="+mn-ea"/>
              </a:rPr>
              <a:t>All dates are subject to change </a:t>
            </a:r>
          </a:p>
        </p:txBody>
      </p:sp>
      <p:cxnSp>
        <p:nvCxnSpPr>
          <p:cNvPr id="75" name="Gerade Verbindung 74"/>
          <p:cNvCxnSpPr/>
          <p:nvPr>
            <p:custDataLst>
              <p:tags r:id="rId46"/>
            </p:custDataLst>
          </p:nvPr>
        </p:nvCxnSpPr>
        <p:spPr>
          <a:xfrm rot="5400000">
            <a:off x="1637476" y="2674961"/>
            <a:ext cx="3132000" cy="0"/>
          </a:xfrm>
          <a:prstGeom prst="line">
            <a:avLst/>
          </a:prstGeom>
          <a:ln w="1905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hteck 63"/>
          <p:cNvSpPr/>
          <p:nvPr>
            <p:custDataLst>
              <p:tags r:id="rId47"/>
            </p:custDataLst>
          </p:nvPr>
        </p:nvSpPr>
        <p:spPr bwMode="gray">
          <a:xfrm>
            <a:off x="3203849" y="1115984"/>
            <a:ext cx="2587472" cy="3420000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200" b="1" dirty="0" smtClean="0">
              <a:solidFill>
                <a:srgbClr val="000000"/>
              </a:solidFill>
            </a:endParaRPr>
          </a:p>
        </p:txBody>
      </p:sp>
      <p:sp>
        <p:nvSpPr>
          <p:cNvPr id="76" name="Text Placeholder 8"/>
          <p:cNvSpPr>
            <a:spLocks noGrp="1"/>
          </p:cNvSpPr>
          <p:nvPr>
            <p:ph type="body" sz="quarter" idx="23" hasCustomPrompt="1"/>
            <p:custDataLst>
              <p:tags r:id="rId48"/>
            </p:custDataLst>
          </p:nvPr>
        </p:nvSpPr>
        <p:spPr bwMode="gray">
          <a:xfrm>
            <a:off x="611560" y="4240961"/>
            <a:ext cx="2590709" cy="288032"/>
          </a:xfrm>
        </p:spPr>
        <p:txBody>
          <a:bodyPr lIns="90000" rIns="90000" anchor="ctr" anchorCtr="0"/>
          <a:lstStyle>
            <a:lvl1pPr algn="ctr">
              <a:buNone/>
              <a:defRPr sz="11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2016</a:t>
            </a:r>
          </a:p>
        </p:txBody>
      </p:sp>
      <p:sp>
        <p:nvSpPr>
          <p:cNvPr id="77" name="Text Placeholder 8"/>
          <p:cNvSpPr>
            <a:spLocks noGrp="1"/>
          </p:cNvSpPr>
          <p:nvPr>
            <p:ph type="body" sz="quarter" idx="24" hasCustomPrompt="1"/>
            <p:custDataLst>
              <p:tags r:id="rId49"/>
            </p:custDataLst>
          </p:nvPr>
        </p:nvSpPr>
        <p:spPr bwMode="gray">
          <a:xfrm>
            <a:off x="3203850" y="4248001"/>
            <a:ext cx="2587472" cy="280992"/>
          </a:xfrm>
        </p:spPr>
        <p:txBody>
          <a:bodyPr lIns="90000" rIns="90000" anchor="ctr" anchorCtr="0"/>
          <a:lstStyle>
            <a:lvl1pPr algn="ctr">
              <a:buNone/>
              <a:defRPr sz="11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2017</a:t>
            </a:r>
          </a:p>
        </p:txBody>
      </p:sp>
      <p:sp>
        <p:nvSpPr>
          <p:cNvPr id="78" name="Rechteck 77"/>
          <p:cNvSpPr/>
          <p:nvPr>
            <p:custDataLst>
              <p:tags r:id="rId50"/>
            </p:custDataLst>
          </p:nvPr>
        </p:nvSpPr>
        <p:spPr bwMode="gray">
          <a:xfrm>
            <a:off x="613048" y="1116000"/>
            <a:ext cx="2590800" cy="3419984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200" b="1" dirty="0" smtClean="0">
              <a:solidFill>
                <a:srgbClr val="000000"/>
              </a:solidFill>
            </a:endParaRPr>
          </a:p>
        </p:txBody>
      </p:sp>
      <p:sp>
        <p:nvSpPr>
          <p:cNvPr id="79" name="Rechteck 78"/>
          <p:cNvSpPr/>
          <p:nvPr userDrawn="1">
            <p:custDataLst>
              <p:tags r:id="rId51"/>
            </p:custDataLst>
          </p:nvPr>
        </p:nvSpPr>
        <p:spPr bwMode="gray">
          <a:xfrm>
            <a:off x="323528" y="1116000"/>
            <a:ext cx="5472608" cy="2880000"/>
          </a:xfrm>
          <a:prstGeom prst="rect">
            <a:avLst/>
          </a:prstGeom>
          <a:gradFill flip="none" rotWithShape="1">
            <a:gsLst>
              <a:gs pos="0">
                <a:schemeClr val="bg2"/>
              </a:gs>
              <a:gs pos="100000">
                <a:schemeClr val="bg1"/>
              </a:gs>
            </a:gsLst>
            <a:path path="circle">
              <a:fillToRect r="100000" b="100000"/>
            </a:path>
            <a:tileRect l="-100000" t="-10000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t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b="1" dirty="0" smtClean="0">
              <a:solidFill>
                <a:srgbClr val="000000"/>
              </a:solidFill>
            </a:endParaRPr>
          </a:p>
        </p:txBody>
      </p:sp>
      <p:sp>
        <p:nvSpPr>
          <p:cNvPr id="80" name="Rechteck 79"/>
          <p:cNvSpPr/>
          <p:nvPr userDrawn="1">
            <p:custDataLst>
              <p:tags r:id="rId52"/>
            </p:custDataLst>
          </p:nvPr>
        </p:nvSpPr>
        <p:spPr bwMode="gray">
          <a:xfrm rot="16200000">
            <a:off x="-972418" y="2412000"/>
            <a:ext cx="2880000" cy="287954"/>
          </a:xfrm>
          <a:prstGeom prst="rect">
            <a:avLst/>
          </a:prstGeom>
          <a:gradFill flip="none" rotWithShape="1">
            <a:gsLst>
              <a:gs pos="30000">
                <a:schemeClr val="tx2"/>
              </a:gs>
              <a:gs pos="100000">
                <a:schemeClr val="tx2">
                  <a:lumMod val="60000"/>
                  <a:lumOff val="40000"/>
                </a:schemeClr>
              </a:gs>
            </a:gsLst>
            <a:lin ang="16200000" scaled="1"/>
            <a:tileRect/>
          </a:gra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90000" bIns="46800" rtlCol="0" anchor="ctr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5C5D"/>
              </a:buClr>
            </a:pPr>
            <a:endParaRPr kumimoji="0" lang="en-US" sz="1200" dirty="0" smtClean="0">
              <a:solidFill>
                <a:srgbClr val="FFFFFF"/>
              </a:solidFill>
            </a:endParaRPr>
          </a:p>
        </p:txBody>
      </p:sp>
      <p:sp>
        <p:nvSpPr>
          <p:cNvPr id="81" name="Eine Ecke des Rechtecks abrunden 80"/>
          <p:cNvSpPr/>
          <p:nvPr userDrawn="1">
            <p:custDataLst>
              <p:tags r:id="rId53"/>
            </p:custDataLst>
          </p:nvPr>
        </p:nvSpPr>
        <p:spPr bwMode="gray">
          <a:xfrm>
            <a:off x="6012160" y="1124744"/>
            <a:ext cx="2952453" cy="792088"/>
          </a:xfrm>
          <a:prstGeom prst="round1Rect">
            <a:avLst>
              <a:gd name="adj" fmla="val 48101"/>
            </a:avLst>
          </a:prstGeom>
          <a:gradFill flip="none" rotWithShape="1">
            <a:gsLst>
              <a:gs pos="30000">
                <a:schemeClr val="tx2"/>
              </a:gs>
              <a:gs pos="100000">
                <a:schemeClr val="tx2">
                  <a:lumMod val="60000"/>
                  <a:lumOff val="40000"/>
                </a:schemeClr>
              </a:gs>
            </a:gsLst>
            <a:lin ang="16200000" scaled="1"/>
            <a:tileRect/>
          </a:gra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5C5D"/>
              </a:buClr>
            </a:pPr>
            <a:endParaRPr kumimoji="0" lang="en-US" sz="1400" dirty="0" smtClean="0">
              <a:solidFill>
                <a:srgbClr val="FFFFFF"/>
              </a:solidFill>
            </a:endParaRPr>
          </a:p>
        </p:txBody>
      </p:sp>
      <p:sp>
        <p:nvSpPr>
          <p:cNvPr id="82" name="Rechteck 81"/>
          <p:cNvSpPr/>
          <p:nvPr userDrawn="1">
            <p:custDataLst>
              <p:tags r:id="rId54"/>
            </p:custDataLst>
          </p:nvPr>
        </p:nvSpPr>
        <p:spPr bwMode="gray">
          <a:xfrm>
            <a:off x="6012160" y="1556247"/>
            <a:ext cx="2952453" cy="2988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266700" lvl="1" indent="-266700" algn="l" fontAlgn="auto">
              <a:spcBef>
                <a:spcPts val="516"/>
              </a:spcBef>
              <a:spcAft>
                <a:spcPts val="288"/>
              </a:spcAft>
              <a:buClr>
                <a:srgbClr val="A30B1A"/>
              </a:buClr>
              <a:buFont typeface="Wingdings" pitchFamily="2" charset="2"/>
              <a:buChar char="n"/>
            </a:pPr>
            <a:endParaRPr kumimoji="0" lang="en-US" sz="1050" dirty="0" smtClean="0">
              <a:solidFill>
                <a:srgbClr val="000000"/>
              </a:solidFill>
            </a:endParaRPr>
          </a:p>
        </p:txBody>
      </p:sp>
      <p:sp>
        <p:nvSpPr>
          <p:cNvPr id="83" name="Rechteck 82"/>
          <p:cNvSpPr/>
          <p:nvPr userDrawn="1">
            <p:custDataLst>
              <p:tags r:id="rId55"/>
            </p:custDataLst>
          </p:nvPr>
        </p:nvSpPr>
        <p:spPr bwMode="gray">
          <a:xfrm>
            <a:off x="611560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84" name="Rechteck 83"/>
          <p:cNvSpPr/>
          <p:nvPr userDrawn="1">
            <p:custDataLst>
              <p:tags r:id="rId56"/>
            </p:custDataLst>
          </p:nvPr>
        </p:nvSpPr>
        <p:spPr bwMode="gray">
          <a:xfrm>
            <a:off x="827584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85" name="Rechteck 84"/>
          <p:cNvSpPr/>
          <p:nvPr userDrawn="1">
            <p:custDataLst>
              <p:tags r:id="rId57"/>
            </p:custDataLst>
          </p:nvPr>
        </p:nvSpPr>
        <p:spPr bwMode="gray">
          <a:xfrm>
            <a:off x="1043608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86" name="Rechteck 85"/>
          <p:cNvSpPr/>
          <p:nvPr userDrawn="1">
            <p:custDataLst>
              <p:tags r:id="rId58"/>
            </p:custDataLst>
          </p:nvPr>
        </p:nvSpPr>
        <p:spPr bwMode="gray">
          <a:xfrm>
            <a:off x="611560" y="1116000"/>
            <a:ext cx="648072" cy="3132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1</a:t>
            </a:r>
          </a:p>
        </p:txBody>
      </p:sp>
      <p:sp>
        <p:nvSpPr>
          <p:cNvPr id="87" name="Rechteck 86"/>
          <p:cNvSpPr/>
          <p:nvPr userDrawn="1">
            <p:custDataLst>
              <p:tags r:id="rId59"/>
            </p:custDataLst>
          </p:nvPr>
        </p:nvSpPr>
        <p:spPr bwMode="gray">
          <a:xfrm>
            <a:off x="1259632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88" name="Rechteck 87"/>
          <p:cNvSpPr/>
          <p:nvPr userDrawn="1">
            <p:custDataLst>
              <p:tags r:id="rId60"/>
            </p:custDataLst>
          </p:nvPr>
        </p:nvSpPr>
        <p:spPr bwMode="gray">
          <a:xfrm>
            <a:off x="1475656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89" name="Rechteck 88"/>
          <p:cNvSpPr/>
          <p:nvPr userDrawn="1">
            <p:custDataLst>
              <p:tags r:id="rId61"/>
            </p:custDataLst>
          </p:nvPr>
        </p:nvSpPr>
        <p:spPr bwMode="gray">
          <a:xfrm>
            <a:off x="1691680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90" name="Rechteck 89"/>
          <p:cNvSpPr/>
          <p:nvPr userDrawn="1">
            <p:custDataLst>
              <p:tags r:id="rId62"/>
            </p:custDataLst>
          </p:nvPr>
        </p:nvSpPr>
        <p:spPr bwMode="gray">
          <a:xfrm>
            <a:off x="1259632" y="1116000"/>
            <a:ext cx="648072" cy="3132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2</a:t>
            </a:r>
          </a:p>
        </p:txBody>
      </p:sp>
      <p:sp>
        <p:nvSpPr>
          <p:cNvPr id="91" name="Rechteck 90"/>
          <p:cNvSpPr/>
          <p:nvPr userDrawn="1">
            <p:custDataLst>
              <p:tags r:id="rId63"/>
            </p:custDataLst>
          </p:nvPr>
        </p:nvSpPr>
        <p:spPr bwMode="gray">
          <a:xfrm>
            <a:off x="1907704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92" name="Rechteck 91"/>
          <p:cNvSpPr/>
          <p:nvPr userDrawn="1">
            <p:custDataLst>
              <p:tags r:id="rId64"/>
            </p:custDataLst>
          </p:nvPr>
        </p:nvSpPr>
        <p:spPr bwMode="gray">
          <a:xfrm>
            <a:off x="2123728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93" name="Rechteck 92"/>
          <p:cNvSpPr/>
          <p:nvPr userDrawn="1">
            <p:custDataLst>
              <p:tags r:id="rId65"/>
            </p:custDataLst>
          </p:nvPr>
        </p:nvSpPr>
        <p:spPr bwMode="gray">
          <a:xfrm>
            <a:off x="2339752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94" name="Rechteck 93"/>
          <p:cNvSpPr/>
          <p:nvPr userDrawn="1">
            <p:custDataLst>
              <p:tags r:id="rId66"/>
            </p:custDataLst>
          </p:nvPr>
        </p:nvSpPr>
        <p:spPr bwMode="gray">
          <a:xfrm>
            <a:off x="1907704" y="1116000"/>
            <a:ext cx="648072" cy="3132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3</a:t>
            </a:r>
          </a:p>
        </p:txBody>
      </p:sp>
      <p:sp>
        <p:nvSpPr>
          <p:cNvPr id="95" name="Rechteck 94"/>
          <p:cNvSpPr/>
          <p:nvPr userDrawn="1">
            <p:custDataLst>
              <p:tags r:id="rId67"/>
            </p:custDataLst>
          </p:nvPr>
        </p:nvSpPr>
        <p:spPr bwMode="gray">
          <a:xfrm>
            <a:off x="2555776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96" name="Rechteck 95"/>
          <p:cNvSpPr/>
          <p:nvPr userDrawn="1">
            <p:custDataLst>
              <p:tags r:id="rId68"/>
            </p:custDataLst>
          </p:nvPr>
        </p:nvSpPr>
        <p:spPr bwMode="gray">
          <a:xfrm>
            <a:off x="2771800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97" name="Rechteck 96"/>
          <p:cNvSpPr/>
          <p:nvPr userDrawn="1">
            <p:custDataLst>
              <p:tags r:id="rId69"/>
            </p:custDataLst>
          </p:nvPr>
        </p:nvSpPr>
        <p:spPr bwMode="gray">
          <a:xfrm>
            <a:off x="2987824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98" name="Rechteck 97"/>
          <p:cNvSpPr/>
          <p:nvPr userDrawn="1">
            <p:custDataLst>
              <p:tags r:id="rId70"/>
            </p:custDataLst>
          </p:nvPr>
        </p:nvSpPr>
        <p:spPr bwMode="gray">
          <a:xfrm>
            <a:off x="2555776" y="1116000"/>
            <a:ext cx="648072" cy="3132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4</a:t>
            </a:r>
          </a:p>
        </p:txBody>
      </p:sp>
      <p:sp>
        <p:nvSpPr>
          <p:cNvPr id="99" name="Rechteck 98"/>
          <p:cNvSpPr/>
          <p:nvPr userDrawn="1">
            <p:custDataLst>
              <p:tags r:id="rId71"/>
            </p:custDataLst>
          </p:nvPr>
        </p:nvSpPr>
        <p:spPr bwMode="gray">
          <a:xfrm>
            <a:off x="3203848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100" name="Rechteck 99"/>
          <p:cNvSpPr/>
          <p:nvPr userDrawn="1">
            <p:custDataLst>
              <p:tags r:id="rId72"/>
            </p:custDataLst>
          </p:nvPr>
        </p:nvSpPr>
        <p:spPr bwMode="gray">
          <a:xfrm>
            <a:off x="3419872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101" name="Rechteck 100"/>
          <p:cNvSpPr/>
          <p:nvPr userDrawn="1">
            <p:custDataLst>
              <p:tags r:id="rId73"/>
            </p:custDataLst>
          </p:nvPr>
        </p:nvSpPr>
        <p:spPr bwMode="gray">
          <a:xfrm>
            <a:off x="3635896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102" name="Rechteck 101"/>
          <p:cNvSpPr/>
          <p:nvPr userDrawn="1">
            <p:custDataLst>
              <p:tags r:id="rId74"/>
            </p:custDataLst>
          </p:nvPr>
        </p:nvSpPr>
        <p:spPr bwMode="gray">
          <a:xfrm>
            <a:off x="3203848" y="1116000"/>
            <a:ext cx="648072" cy="3132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1</a:t>
            </a:r>
          </a:p>
        </p:txBody>
      </p:sp>
      <p:sp>
        <p:nvSpPr>
          <p:cNvPr id="103" name="Rechteck 102"/>
          <p:cNvSpPr/>
          <p:nvPr userDrawn="1">
            <p:custDataLst>
              <p:tags r:id="rId75"/>
            </p:custDataLst>
          </p:nvPr>
        </p:nvSpPr>
        <p:spPr bwMode="gray">
          <a:xfrm>
            <a:off x="3851920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104" name="Rechteck 103"/>
          <p:cNvSpPr/>
          <p:nvPr userDrawn="1">
            <p:custDataLst>
              <p:tags r:id="rId76"/>
            </p:custDataLst>
          </p:nvPr>
        </p:nvSpPr>
        <p:spPr bwMode="gray">
          <a:xfrm>
            <a:off x="4067944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105" name="Rechteck 104"/>
          <p:cNvSpPr/>
          <p:nvPr userDrawn="1">
            <p:custDataLst>
              <p:tags r:id="rId77"/>
            </p:custDataLst>
          </p:nvPr>
        </p:nvSpPr>
        <p:spPr bwMode="gray">
          <a:xfrm>
            <a:off x="4283968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106" name="Rechteck 105"/>
          <p:cNvSpPr/>
          <p:nvPr userDrawn="1">
            <p:custDataLst>
              <p:tags r:id="rId78"/>
            </p:custDataLst>
          </p:nvPr>
        </p:nvSpPr>
        <p:spPr bwMode="gray">
          <a:xfrm>
            <a:off x="3851920" y="1116000"/>
            <a:ext cx="648072" cy="3132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2</a:t>
            </a:r>
          </a:p>
        </p:txBody>
      </p:sp>
      <p:sp>
        <p:nvSpPr>
          <p:cNvPr id="107" name="Rechteck 106"/>
          <p:cNvSpPr/>
          <p:nvPr userDrawn="1">
            <p:custDataLst>
              <p:tags r:id="rId79"/>
            </p:custDataLst>
          </p:nvPr>
        </p:nvSpPr>
        <p:spPr bwMode="gray">
          <a:xfrm>
            <a:off x="4499992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108" name="Rechteck 107"/>
          <p:cNvSpPr/>
          <p:nvPr userDrawn="1">
            <p:custDataLst>
              <p:tags r:id="rId80"/>
            </p:custDataLst>
          </p:nvPr>
        </p:nvSpPr>
        <p:spPr bwMode="gray">
          <a:xfrm>
            <a:off x="4716016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109" name="Rechteck 108"/>
          <p:cNvSpPr/>
          <p:nvPr userDrawn="1">
            <p:custDataLst>
              <p:tags r:id="rId81"/>
            </p:custDataLst>
          </p:nvPr>
        </p:nvSpPr>
        <p:spPr bwMode="gray">
          <a:xfrm>
            <a:off x="4932040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110" name="Rechteck 109"/>
          <p:cNvSpPr/>
          <p:nvPr userDrawn="1">
            <p:custDataLst>
              <p:tags r:id="rId82"/>
            </p:custDataLst>
          </p:nvPr>
        </p:nvSpPr>
        <p:spPr bwMode="gray">
          <a:xfrm>
            <a:off x="4499992" y="1116000"/>
            <a:ext cx="648072" cy="3132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3</a:t>
            </a:r>
          </a:p>
        </p:txBody>
      </p:sp>
      <p:sp>
        <p:nvSpPr>
          <p:cNvPr id="111" name="Rechteck 110"/>
          <p:cNvSpPr/>
          <p:nvPr userDrawn="1">
            <p:custDataLst>
              <p:tags r:id="rId83"/>
            </p:custDataLst>
          </p:nvPr>
        </p:nvSpPr>
        <p:spPr bwMode="gray">
          <a:xfrm>
            <a:off x="5148064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112" name="Rechteck 111"/>
          <p:cNvSpPr/>
          <p:nvPr userDrawn="1">
            <p:custDataLst>
              <p:tags r:id="rId84"/>
            </p:custDataLst>
          </p:nvPr>
        </p:nvSpPr>
        <p:spPr bwMode="gray">
          <a:xfrm>
            <a:off x="5364088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113" name="Rechteck 112"/>
          <p:cNvSpPr/>
          <p:nvPr userDrawn="1">
            <p:custDataLst>
              <p:tags r:id="rId85"/>
            </p:custDataLst>
          </p:nvPr>
        </p:nvSpPr>
        <p:spPr bwMode="gray">
          <a:xfrm>
            <a:off x="5580112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114" name="Rechteck 113"/>
          <p:cNvSpPr/>
          <p:nvPr userDrawn="1">
            <p:custDataLst>
              <p:tags r:id="rId86"/>
            </p:custDataLst>
          </p:nvPr>
        </p:nvSpPr>
        <p:spPr bwMode="gray">
          <a:xfrm>
            <a:off x="5148064" y="1116000"/>
            <a:ext cx="648072" cy="3132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4</a:t>
            </a:r>
          </a:p>
        </p:txBody>
      </p:sp>
      <p:cxnSp>
        <p:nvCxnSpPr>
          <p:cNvPr id="115" name="Gerade Verbindung 114"/>
          <p:cNvCxnSpPr/>
          <p:nvPr userDrawn="1">
            <p:custDataLst>
              <p:tags r:id="rId87"/>
            </p:custDataLst>
          </p:nvPr>
        </p:nvCxnSpPr>
        <p:spPr>
          <a:xfrm flipH="1">
            <a:off x="1259541" y="1125290"/>
            <a:ext cx="91" cy="3128463"/>
          </a:xfrm>
          <a:prstGeom prst="line">
            <a:avLst/>
          </a:prstGeom>
          <a:ln w="1905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Gerade Verbindung 115"/>
          <p:cNvCxnSpPr/>
          <p:nvPr userDrawn="1">
            <p:custDataLst>
              <p:tags r:id="rId88"/>
            </p:custDataLst>
          </p:nvPr>
        </p:nvCxnSpPr>
        <p:spPr>
          <a:xfrm rot="5400000">
            <a:off x="341704" y="2691290"/>
            <a:ext cx="3132000" cy="0"/>
          </a:xfrm>
          <a:prstGeom prst="line">
            <a:avLst/>
          </a:prstGeom>
          <a:ln w="1905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Gerade Verbindung 116"/>
          <p:cNvCxnSpPr/>
          <p:nvPr userDrawn="1">
            <p:custDataLst>
              <p:tags r:id="rId89"/>
            </p:custDataLst>
          </p:nvPr>
        </p:nvCxnSpPr>
        <p:spPr>
          <a:xfrm rot="5400000">
            <a:off x="989776" y="2691290"/>
            <a:ext cx="3132000" cy="0"/>
          </a:xfrm>
          <a:prstGeom prst="line">
            <a:avLst/>
          </a:prstGeom>
          <a:ln w="1905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Gerade Verbindung 117"/>
          <p:cNvCxnSpPr/>
          <p:nvPr userDrawn="1">
            <p:custDataLst>
              <p:tags r:id="rId90"/>
            </p:custDataLst>
          </p:nvPr>
        </p:nvCxnSpPr>
        <p:spPr>
          <a:xfrm flipH="1">
            <a:off x="3850341" y="1125290"/>
            <a:ext cx="1579" cy="3119498"/>
          </a:xfrm>
          <a:prstGeom prst="line">
            <a:avLst/>
          </a:prstGeom>
          <a:ln w="1905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Gerade Verbindung 118"/>
          <p:cNvCxnSpPr/>
          <p:nvPr userDrawn="1">
            <p:custDataLst>
              <p:tags r:id="rId91"/>
            </p:custDataLst>
          </p:nvPr>
        </p:nvCxnSpPr>
        <p:spPr>
          <a:xfrm rot="5400000">
            <a:off x="2933992" y="2691290"/>
            <a:ext cx="3132000" cy="0"/>
          </a:xfrm>
          <a:prstGeom prst="line">
            <a:avLst/>
          </a:prstGeom>
          <a:ln w="1905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Gerade Verbindung 119"/>
          <p:cNvCxnSpPr/>
          <p:nvPr userDrawn="1">
            <p:custDataLst>
              <p:tags r:id="rId92"/>
            </p:custDataLst>
          </p:nvPr>
        </p:nvCxnSpPr>
        <p:spPr>
          <a:xfrm rot="5400000">
            <a:off x="3582064" y="2691290"/>
            <a:ext cx="3132000" cy="0"/>
          </a:xfrm>
          <a:prstGeom prst="line">
            <a:avLst/>
          </a:prstGeom>
          <a:ln w="1905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Gerade Verbindung 121"/>
          <p:cNvCxnSpPr/>
          <p:nvPr userDrawn="1">
            <p:custDataLst>
              <p:tags r:id="rId93"/>
            </p:custDataLst>
          </p:nvPr>
        </p:nvCxnSpPr>
        <p:spPr>
          <a:xfrm rot="5400000">
            <a:off x="1637476" y="2674961"/>
            <a:ext cx="3132000" cy="0"/>
          </a:xfrm>
          <a:prstGeom prst="line">
            <a:avLst/>
          </a:prstGeom>
          <a:ln w="1905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Rechteck 122"/>
          <p:cNvSpPr/>
          <p:nvPr userDrawn="1">
            <p:custDataLst>
              <p:tags r:id="rId94"/>
            </p:custDataLst>
          </p:nvPr>
        </p:nvSpPr>
        <p:spPr bwMode="gray">
          <a:xfrm>
            <a:off x="608440" y="1116000"/>
            <a:ext cx="2595563" cy="3420000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200" b="1" dirty="0" smtClean="0">
              <a:solidFill>
                <a:srgbClr val="000000"/>
              </a:solidFill>
            </a:endParaRPr>
          </a:p>
        </p:txBody>
      </p:sp>
      <p:sp>
        <p:nvSpPr>
          <p:cNvPr id="124" name="Rechteck 123"/>
          <p:cNvSpPr/>
          <p:nvPr userDrawn="1">
            <p:custDataLst>
              <p:tags r:id="rId95"/>
            </p:custDataLst>
          </p:nvPr>
        </p:nvSpPr>
        <p:spPr bwMode="gray">
          <a:xfrm>
            <a:off x="3203849" y="1115984"/>
            <a:ext cx="2587472" cy="3420000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200" b="1" dirty="0" smtClean="0">
              <a:solidFill>
                <a:srgbClr val="000000"/>
              </a:solidFill>
            </a:endParaRPr>
          </a:p>
        </p:txBody>
      </p:sp>
      <p:sp>
        <p:nvSpPr>
          <p:cNvPr id="121" name="Rectangle 242"/>
          <p:cNvSpPr>
            <a:spLocks noChangeArrowheads="1"/>
          </p:cNvSpPr>
          <p:nvPr userDrawn="1"/>
        </p:nvSpPr>
        <p:spPr bwMode="gray">
          <a:xfrm>
            <a:off x="4067944" y="4588568"/>
            <a:ext cx="288032" cy="144463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tx2"/>
            </a:solidFill>
            <a:prstDash val="solid"/>
            <a:headEnd type="none" w="med" len="med"/>
            <a:tailEnd type="none" w="med" len="med"/>
          </a:ln>
          <a:effectLst/>
        </p:spPr>
        <p:txBody>
          <a:bodyPr wrap="square" lIns="90000" tIns="46800" rIns="90000" bIns="46800" anchor="ctr"/>
          <a:lstStyle/>
          <a:p>
            <a:pPr algn="l">
              <a:spcBef>
                <a:spcPts val="0"/>
              </a:spcBef>
              <a:spcAft>
                <a:spcPts val="0"/>
              </a:spcAft>
              <a:defRPr/>
            </a:pPr>
            <a:endParaRPr kumimoji="0" lang="en-US" altLang="ja-JP" sz="1100" b="1" kern="0">
              <a:latin typeface="Arial"/>
              <a:cs typeface="Arial"/>
            </a:endParaRPr>
          </a:p>
        </p:txBody>
      </p:sp>
      <p:sp>
        <p:nvSpPr>
          <p:cNvPr id="134" name="Rectangle 246"/>
          <p:cNvSpPr>
            <a:spLocks noChangeArrowheads="1"/>
          </p:cNvSpPr>
          <p:nvPr userDrawn="1"/>
        </p:nvSpPr>
        <p:spPr bwMode="gray">
          <a:xfrm>
            <a:off x="1691680" y="4588569"/>
            <a:ext cx="288032" cy="144462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75000"/>
                </a:schemeClr>
              </a:gs>
              <a:gs pos="50000">
                <a:schemeClr val="bg1">
                  <a:lumMod val="75000"/>
                </a:schemeClr>
              </a:gs>
              <a:gs pos="100000">
                <a:schemeClr val="bg2">
                  <a:shade val="100000"/>
                  <a:satMod val="115000"/>
                </a:schemeClr>
              </a:gs>
            </a:gsLst>
            <a:lin ang="5400000" scaled="1"/>
            <a:tileRect/>
          </a:gra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wrap="square" lIns="90000" tIns="46800" rIns="90000" bIns="46800" anchor="ctr"/>
          <a:lstStyle/>
          <a:p>
            <a:pPr algn="l" eaLnBrk="0" hangingPunct="0">
              <a:spcBef>
                <a:spcPts val="0"/>
              </a:spcBef>
              <a:spcAft>
                <a:spcPts val="0"/>
              </a:spcAft>
            </a:pPr>
            <a:endParaRPr kumimoji="0" lang="en-US" altLang="ja-JP" sz="1100" b="1" kern="0">
              <a:solidFill>
                <a:srgbClr val="FFFFFF"/>
              </a:solidFill>
              <a:latin typeface="Arial"/>
              <a:ea typeface="+mn-ea"/>
            </a:endParaRPr>
          </a:p>
        </p:txBody>
      </p:sp>
      <p:sp>
        <p:nvSpPr>
          <p:cNvPr id="135" name="Rectangle 247"/>
          <p:cNvSpPr>
            <a:spLocks noChangeArrowheads="1"/>
          </p:cNvSpPr>
          <p:nvPr userDrawn="1"/>
        </p:nvSpPr>
        <p:spPr bwMode="gray">
          <a:xfrm>
            <a:off x="1979712" y="4588568"/>
            <a:ext cx="1557338" cy="1444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90000" tIns="46800" rIns="90000" bIns="46800" anchor="ctr" anchorCtr="0">
            <a:noAutofit/>
          </a:bodyPr>
          <a:lstStyle/>
          <a:p>
            <a:pPr algn="l" defTabSz="74295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ja-JP" sz="900" kern="0" dirty="0" smtClean="0">
                <a:solidFill>
                  <a:sysClr val="windowText" lastClr="000000"/>
                </a:solidFill>
                <a:latin typeface="Arial"/>
                <a:ea typeface="+mn-ea"/>
              </a:rPr>
              <a:t>EOL as long as stock lasts</a:t>
            </a:r>
          </a:p>
        </p:txBody>
      </p:sp>
      <p:sp>
        <p:nvSpPr>
          <p:cNvPr id="136" name="Rectangle 242"/>
          <p:cNvSpPr>
            <a:spLocks noChangeArrowheads="1"/>
          </p:cNvSpPr>
          <p:nvPr userDrawn="1"/>
        </p:nvSpPr>
        <p:spPr bwMode="gray">
          <a:xfrm>
            <a:off x="1403648" y="4588568"/>
            <a:ext cx="288032" cy="144463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tx2"/>
            </a:solidFill>
            <a:prstDash val="solid"/>
            <a:headEnd type="none" w="med" len="med"/>
            <a:tailEnd type="none" w="med" len="med"/>
          </a:ln>
          <a:effectLst/>
        </p:spPr>
        <p:txBody>
          <a:bodyPr wrap="square" lIns="90000" tIns="46800" rIns="90000" bIns="46800" anchor="ctr"/>
          <a:lstStyle/>
          <a:p>
            <a:pPr algn="l">
              <a:spcBef>
                <a:spcPts val="0"/>
              </a:spcBef>
              <a:spcAft>
                <a:spcPts val="0"/>
              </a:spcAft>
              <a:defRPr/>
            </a:pPr>
            <a:endParaRPr kumimoji="0" lang="en-US" altLang="ja-JP" sz="1100" b="1" kern="0">
              <a:latin typeface="Arial"/>
              <a:cs typeface="Arial"/>
            </a:endParaRPr>
          </a:p>
        </p:txBody>
      </p:sp>
      <p:sp>
        <p:nvSpPr>
          <p:cNvPr id="137" name="Rectangle 243"/>
          <p:cNvSpPr>
            <a:spLocks noChangeArrowheads="1"/>
          </p:cNvSpPr>
          <p:nvPr userDrawn="1"/>
        </p:nvSpPr>
        <p:spPr bwMode="gray">
          <a:xfrm>
            <a:off x="4355976" y="4588568"/>
            <a:ext cx="2256284" cy="1444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90000" tIns="46800" rIns="90000" bIns="46800" anchor="ctr" anchorCtr="0">
            <a:noAutofit/>
          </a:bodyPr>
          <a:lstStyle/>
          <a:p>
            <a:pPr algn="l" defTabSz="74295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ja-JP" sz="900" kern="0" dirty="0" smtClean="0">
                <a:solidFill>
                  <a:sysClr val="windowText" lastClr="000000"/>
                </a:solidFill>
                <a:latin typeface="Arial"/>
                <a:ea typeface="+mn-ea"/>
              </a:rPr>
              <a:t>Roadmap produc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Rechteck 77"/>
          <p:cNvSpPr/>
          <p:nvPr>
            <p:custDataLst>
              <p:tags r:id="rId1"/>
            </p:custDataLst>
          </p:nvPr>
        </p:nvSpPr>
        <p:spPr bwMode="gray">
          <a:xfrm>
            <a:off x="307445" y="2591977"/>
            <a:ext cx="5472608" cy="1404000"/>
          </a:xfrm>
          <a:prstGeom prst="rect">
            <a:avLst/>
          </a:prstGeom>
          <a:gradFill flip="none" rotWithShape="1">
            <a:gsLst>
              <a:gs pos="0">
                <a:schemeClr val="bg2"/>
              </a:gs>
              <a:gs pos="100000">
                <a:schemeClr val="bg1"/>
              </a:gs>
            </a:gsLst>
            <a:path path="circle">
              <a:fillToRect r="100000" b="100000"/>
            </a:path>
            <a:tileRect l="-100000" t="-10000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t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b="1" dirty="0" smtClean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Rechteck 5"/>
          <p:cNvSpPr/>
          <p:nvPr>
            <p:custDataLst>
              <p:tags r:id="rId2"/>
            </p:custDataLst>
          </p:nvPr>
        </p:nvSpPr>
        <p:spPr bwMode="gray">
          <a:xfrm>
            <a:off x="323528" y="1124744"/>
            <a:ext cx="5472608" cy="1404000"/>
          </a:xfrm>
          <a:prstGeom prst="rect">
            <a:avLst/>
          </a:prstGeom>
          <a:gradFill flip="none" rotWithShape="1">
            <a:gsLst>
              <a:gs pos="0">
                <a:schemeClr val="bg2"/>
              </a:gs>
              <a:gs pos="100000">
                <a:schemeClr val="bg1"/>
              </a:gs>
            </a:gsLst>
            <a:path path="circle">
              <a:fillToRect r="100000" b="100000"/>
            </a:path>
            <a:tileRect l="-100000" t="-10000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t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b="1" dirty="0" smtClean="0">
              <a:solidFill>
                <a:srgbClr val="000000"/>
              </a:solidFill>
            </a:endParaRPr>
          </a:p>
        </p:txBody>
      </p:sp>
      <p:sp>
        <p:nvSpPr>
          <p:cNvPr id="7" name="Rechteck 6"/>
          <p:cNvSpPr/>
          <p:nvPr>
            <p:custDataLst>
              <p:tags r:id="rId3"/>
            </p:custDataLst>
          </p:nvPr>
        </p:nvSpPr>
        <p:spPr bwMode="gray">
          <a:xfrm rot="16200000">
            <a:off x="-234418" y="3150000"/>
            <a:ext cx="1404000" cy="287954"/>
          </a:xfrm>
          <a:prstGeom prst="rect">
            <a:avLst/>
          </a:prstGeom>
          <a:gradFill flip="none" rotWithShape="1">
            <a:gsLst>
              <a:gs pos="30000">
                <a:schemeClr val="tx2"/>
              </a:gs>
              <a:gs pos="100000">
                <a:schemeClr val="tx2">
                  <a:lumMod val="60000"/>
                  <a:lumOff val="40000"/>
                </a:schemeClr>
              </a:gs>
            </a:gsLst>
            <a:lin ang="16200000" scaled="1"/>
            <a:tileRect/>
          </a:gra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90000" bIns="46800" rtlCol="0" anchor="ctr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5C5D"/>
              </a:buClr>
            </a:pPr>
            <a:endParaRPr kumimoji="0" lang="en-US" sz="1200" dirty="0" smtClean="0">
              <a:solidFill>
                <a:srgbClr val="FFFFFF"/>
              </a:solidFill>
            </a:endParaRP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9" hasCustomPrompt="1"/>
            <p:custDataLst>
              <p:tags r:id="rId4"/>
            </p:custDataLst>
          </p:nvPr>
        </p:nvSpPr>
        <p:spPr bwMode="gray">
          <a:xfrm rot="16200000">
            <a:off x="-234494" y="3150000"/>
            <a:ext cx="1404000" cy="287804"/>
          </a:xfrm>
        </p:spPr>
        <p:txBody>
          <a:bodyPr vert="horz" lIns="90000" tIns="0" rIns="90000" bIns="0" rtlCol="0" anchor="ctr" anchorCtr="0">
            <a:noAutofit/>
          </a:bodyPr>
          <a:lstStyle>
            <a:lvl1pPr>
              <a:buNone/>
              <a:defRPr lang="en-US" sz="12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516"/>
              </a:spcBef>
              <a:spcAft>
                <a:spcPts val="288"/>
              </a:spcAft>
              <a:buClr>
                <a:schemeClr val="accent2"/>
              </a:buClr>
              <a:buFont typeface="Wingdings" pitchFamily="2" charset="2"/>
              <a:buNone/>
            </a:pPr>
            <a:r>
              <a:rPr lang="en-US" dirty="0" smtClean="0"/>
              <a:t>Xxx</a:t>
            </a:r>
          </a:p>
        </p:txBody>
      </p:sp>
      <p:sp>
        <p:nvSpPr>
          <p:cNvPr id="11" name="Eine Ecke des Rechtecks abrunden 10"/>
          <p:cNvSpPr/>
          <p:nvPr>
            <p:custDataLst>
              <p:tags r:id="rId5"/>
            </p:custDataLst>
          </p:nvPr>
        </p:nvSpPr>
        <p:spPr bwMode="gray">
          <a:xfrm>
            <a:off x="6012160" y="1124744"/>
            <a:ext cx="2952453" cy="792088"/>
          </a:xfrm>
          <a:prstGeom prst="round1Rect">
            <a:avLst>
              <a:gd name="adj" fmla="val 48101"/>
            </a:avLst>
          </a:prstGeom>
          <a:gradFill flip="none" rotWithShape="1">
            <a:gsLst>
              <a:gs pos="30000">
                <a:schemeClr val="tx2"/>
              </a:gs>
              <a:gs pos="100000">
                <a:schemeClr val="tx2">
                  <a:lumMod val="60000"/>
                  <a:lumOff val="40000"/>
                </a:schemeClr>
              </a:gs>
            </a:gsLst>
            <a:lin ang="16200000" scaled="1"/>
            <a:tileRect/>
          </a:gra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5C5D"/>
              </a:buClr>
            </a:pPr>
            <a:endParaRPr kumimoji="0" lang="en-US" sz="1400" dirty="0" smtClean="0">
              <a:solidFill>
                <a:srgbClr val="FFFFFF"/>
              </a:solidFill>
            </a:endParaRPr>
          </a:p>
        </p:txBody>
      </p:sp>
      <p:sp>
        <p:nvSpPr>
          <p:cNvPr id="12" name="Rechteck 11"/>
          <p:cNvSpPr/>
          <p:nvPr>
            <p:custDataLst>
              <p:tags r:id="rId6"/>
            </p:custDataLst>
          </p:nvPr>
        </p:nvSpPr>
        <p:spPr bwMode="gray">
          <a:xfrm>
            <a:off x="6012160" y="1556247"/>
            <a:ext cx="2952453" cy="2988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266700" lvl="1" indent="-266700" algn="l" fontAlgn="auto">
              <a:spcBef>
                <a:spcPts val="516"/>
              </a:spcBef>
              <a:spcAft>
                <a:spcPts val="288"/>
              </a:spcAft>
              <a:buClr>
                <a:srgbClr val="A30B1A"/>
              </a:buClr>
              <a:buFont typeface="Wingdings" pitchFamily="2" charset="2"/>
              <a:buChar char="n"/>
            </a:pPr>
            <a:endParaRPr kumimoji="0" lang="en-US" sz="1050" dirty="0" smtClean="0">
              <a:solidFill>
                <a:srgbClr val="000000"/>
              </a:solidFill>
            </a:endParaRP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21"/>
            <p:custDataLst>
              <p:tags r:id="rId7"/>
            </p:custDataLst>
          </p:nvPr>
        </p:nvSpPr>
        <p:spPr bwMode="gray">
          <a:xfrm>
            <a:off x="6012160" y="1125463"/>
            <a:ext cx="2952453" cy="431329"/>
          </a:xfrm>
        </p:spPr>
        <p:txBody>
          <a:bodyPr lIns="90000" anchor="ctr" anchorCtr="0"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2"/>
            <p:custDataLst>
              <p:tags r:id="rId8"/>
            </p:custDataLst>
          </p:nvPr>
        </p:nvSpPr>
        <p:spPr bwMode="gray">
          <a:xfrm>
            <a:off x="6012160" y="1556246"/>
            <a:ext cx="2952453" cy="2988000"/>
          </a:xfrm>
        </p:spPr>
        <p:txBody>
          <a:bodyPr lIns="90000" tIns="82800" rIns="90000" anchor="t" anchorCtr="0"/>
          <a:lstStyle>
            <a:lvl1pPr marL="0" indent="0">
              <a:buFont typeface="Wingdings" pitchFamily="2" charset="2"/>
              <a:buNone/>
              <a:defRPr sz="1400" b="1">
                <a:solidFill>
                  <a:schemeClr val="tx1"/>
                </a:solidFill>
              </a:defRPr>
            </a:lvl1pPr>
            <a:lvl2pPr marL="266700" indent="-266700">
              <a:buClr>
                <a:schemeClr val="accent3"/>
              </a:buClr>
              <a:defRPr sz="1400"/>
            </a:lvl2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15" name="Rechteck 14"/>
          <p:cNvSpPr/>
          <p:nvPr>
            <p:custDataLst>
              <p:tags r:id="rId9"/>
            </p:custDataLst>
          </p:nvPr>
        </p:nvSpPr>
        <p:spPr bwMode="gray">
          <a:xfrm>
            <a:off x="611560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16" name="Rechteck 15"/>
          <p:cNvSpPr/>
          <p:nvPr>
            <p:custDataLst>
              <p:tags r:id="rId10"/>
            </p:custDataLst>
          </p:nvPr>
        </p:nvSpPr>
        <p:spPr bwMode="gray">
          <a:xfrm>
            <a:off x="827584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17" name="Rechteck 16"/>
          <p:cNvSpPr/>
          <p:nvPr>
            <p:custDataLst>
              <p:tags r:id="rId11"/>
            </p:custDataLst>
          </p:nvPr>
        </p:nvSpPr>
        <p:spPr bwMode="gray">
          <a:xfrm>
            <a:off x="1043608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18" name="Rechteck 17"/>
          <p:cNvSpPr/>
          <p:nvPr>
            <p:custDataLst>
              <p:tags r:id="rId12"/>
            </p:custDataLst>
          </p:nvPr>
        </p:nvSpPr>
        <p:spPr bwMode="gray">
          <a:xfrm>
            <a:off x="611560" y="1116000"/>
            <a:ext cx="648072" cy="3132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1</a:t>
            </a:r>
          </a:p>
        </p:txBody>
      </p:sp>
      <p:sp>
        <p:nvSpPr>
          <p:cNvPr id="19" name="Rechteck 18"/>
          <p:cNvSpPr/>
          <p:nvPr>
            <p:custDataLst>
              <p:tags r:id="rId13"/>
            </p:custDataLst>
          </p:nvPr>
        </p:nvSpPr>
        <p:spPr bwMode="gray">
          <a:xfrm>
            <a:off x="1259632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20" name="Rechteck 19"/>
          <p:cNvSpPr/>
          <p:nvPr>
            <p:custDataLst>
              <p:tags r:id="rId14"/>
            </p:custDataLst>
          </p:nvPr>
        </p:nvSpPr>
        <p:spPr bwMode="gray">
          <a:xfrm>
            <a:off x="1475656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21" name="Rechteck 20"/>
          <p:cNvSpPr/>
          <p:nvPr>
            <p:custDataLst>
              <p:tags r:id="rId15"/>
            </p:custDataLst>
          </p:nvPr>
        </p:nvSpPr>
        <p:spPr bwMode="gray">
          <a:xfrm>
            <a:off x="1691680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22" name="Rechteck 21"/>
          <p:cNvSpPr/>
          <p:nvPr>
            <p:custDataLst>
              <p:tags r:id="rId16"/>
            </p:custDataLst>
          </p:nvPr>
        </p:nvSpPr>
        <p:spPr bwMode="gray">
          <a:xfrm>
            <a:off x="1259632" y="1116000"/>
            <a:ext cx="648072" cy="3132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2</a:t>
            </a:r>
          </a:p>
        </p:txBody>
      </p:sp>
      <p:sp>
        <p:nvSpPr>
          <p:cNvPr id="23" name="Rechteck 22"/>
          <p:cNvSpPr/>
          <p:nvPr>
            <p:custDataLst>
              <p:tags r:id="rId17"/>
            </p:custDataLst>
          </p:nvPr>
        </p:nvSpPr>
        <p:spPr bwMode="gray">
          <a:xfrm>
            <a:off x="1907704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24" name="Rechteck 23"/>
          <p:cNvSpPr/>
          <p:nvPr>
            <p:custDataLst>
              <p:tags r:id="rId18"/>
            </p:custDataLst>
          </p:nvPr>
        </p:nvSpPr>
        <p:spPr bwMode="gray">
          <a:xfrm>
            <a:off x="2123728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25" name="Rechteck 24"/>
          <p:cNvSpPr/>
          <p:nvPr>
            <p:custDataLst>
              <p:tags r:id="rId19"/>
            </p:custDataLst>
          </p:nvPr>
        </p:nvSpPr>
        <p:spPr bwMode="gray">
          <a:xfrm>
            <a:off x="2339752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26" name="Rechteck 25"/>
          <p:cNvSpPr/>
          <p:nvPr>
            <p:custDataLst>
              <p:tags r:id="rId20"/>
            </p:custDataLst>
          </p:nvPr>
        </p:nvSpPr>
        <p:spPr bwMode="gray">
          <a:xfrm>
            <a:off x="1907704" y="1116000"/>
            <a:ext cx="648072" cy="3132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3</a:t>
            </a:r>
          </a:p>
        </p:txBody>
      </p:sp>
      <p:sp>
        <p:nvSpPr>
          <p:cNvPr id="27" name="Rechteck 26"/>
          <p:cNvSpPr/>
          <p:nvPr>
            <p:custDataLst>
              <p:tags r:id="rId21"/>
            </p:custDataLst>
          </p:nvPr>
        </p:nvSpPr>
        <p:spPr bwMode="gray">
          <a:xfrm>
            <a:off x="2555776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28" name="Rechteck 27"/>
          <p:cNvSpPr/>
          <p:nvPr>
            <p:custDataLst>
              <p:tags r:id="rId22"/>
            </p:custDataLst>
          </p:nvPr>
        </p:nvSpPr>
        <p:spPr bwMode="gray">
          <a:xfrm>
            <a:off x="2771800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29" name="Rechteck 28"/>
          <p:cNvSpPr/>
          <p:nvPr>
            <p:custDataLst>
              <p:tags r:id="rId23"/>
            </p:custDataLst>
          </p:nvPr>
        </p:nvSpPr>
        <p:spPr bwMode="gray">
          <a:xfrm>
            <a:off x="2987824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0" name="Rechteck 29"/>
          <p:cNvSpPr/>
          <p:nvPr>
            <p:custDataLst>
              <p:tags r:id="rId24"/>
            </p:custDataLst>
          </p:nvPr>
        </p:nvSpPr>
        <p:spPr bwMode="gray">
          <a:xfrm>
            <a:off x="2555776" y="1116000"/>
            <a:ext cx="648072" cy="3132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4</a:t>
            </a:r>
          </a:p>
        </p:txBody>
      </p:sp>
      <p:sp>
        <p:nvSpPr>
          <p:cNvPr id="31" name="Rechteck 30"/>
          <p:cNvSpPr/>
          <p:nvPr>
            <p:custDataLst>
              <p:tags r:id="rId25"/>
            </p:custDataLst>
          </p:nvPr>
        </p:nvSpPr>
        <p:spPr bwMode="gray">
          <a:xfrm>
            <a:off x="3203848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2" name="Rechteck 31"/>
          <p:cNvSpPr/>
          <p:nvPr>
            <p:custDataLst>
              <p:tags r:id="rId26"/>
            </p:custDataLst>
          </p:nvPr>
        </p:nvSpPr>
        <p:spPr bwMode="gray">
          <a:xfrm>
            <a:off x="3419872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3" name="Rechteck 32"/>
          <p:cNvSpPr/>
          <p:nvPr>
            <p:custDataLst>
              <p:tags r:id="rId27"/>
            </p:custDataLst>
          </p:nvPr>
        </p:nvSpPr>
        <p:spPr bwMode="gray">
          <a:xfrm>
            <a:off x="3635896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4" name="Rechteck 33"/>
          <p:cNvSpPr/>
          <p:nvPr>
            <p:custDataLst>
              <p:tags r:id="rId28"/>
            </p:custDataLst>
          </p:nvPr>
        </p:nvSpPr>
        <p:spPr bwMode="gray">
          <a:xfrm>
            <a:off x="3203848" y="1116000"/>
            <a:ext cx="648072" cy="3132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1</a:t>
            </a:r>
          </a:p>
        </p:txBody>
      </p:sp>
      <p:sp>
        <p:nvSpPr>
          <p:cNvPr id="35" name="Rechteck 34"/>
          <p:cNvSpPr/>
          <p:nvPr>
            <p:custDataLst>
              <p:tags r:id="rId29"/>
            </p:custDataLst>
          </p:nvPr>
        </p:nvSpPr>
        <p:spPr bwMode="gray">
          <a:xfrm>
            <a:off x="3851920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6" name="Rechteck 35"/>
          <p:cNvSpPr/>
          <p:nvPr>
            <p:custDataLst>
              <p:tags r:id="rId30"/>
            </p:custDataLst>
          </p:nvPr>
        </p:nvSpPr>
        <p:spPr bwMode="gray">
          <a:xfrm>
            <a:off x="4067944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7" name="Rechteck 36"/>
          <p:cNvSpPr/>
          <p:nvPr>
            <p:custDataLst>
              <p:tags r:id="rId31"/>
            </p:custDataLst>
          </p:nvPr>
        </p:nvSpPr>
        <p:spPr bwMode="gray">
          <a:xfrm>
            <a:off x="4283968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8" name="Rechteck 37"/>
          <p:cNvSpPr/>
          <p:nvPr>
            <p:custDataLst>
              <p:tags r:id="rId32"/>
            </p:custDataLst>
          </p:nvPr>
        </p:nvSpPr>
        <p:spPr bwMode="gray">
          <a:xfrm>
            <a:off x="3851920" y="1116000"/>
            <a:ext cx="648072" cy="3132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2</a:t>
            </a:r>
          </a:p>
        </p:txBody>
      </p:sp>
      <p:sp>
        <p:nvSpPr>
          <p:cNvPr id="39" name="Rechteck 38"/>
          <p:cNvSpPr/>
          <p:nvPr>
            <p:custDataLst>
              <p:tags r:id="rId33"/>
            </p:custDataLst>
          </p:nvPr>
        </p:nvSpPr>
        <p:spPr bwMode="gray">
          <a:xfrm>
            <a:off x="4499992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40" name="Rechteck 39"/>
          <p:cNvSpPr/>
          <p:nvPr>
            <p:custDataLst>
              <p:tags r:id="rId34"/>
            </p:custDataLst>
          </p:nvPr>
        </p:nvSpPr>
        <p:spPr bwMode="gray">
          <a:xfrm>
            <a:off x="4716016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41" name="Rechteck 40"/>
          <p:cNvSpPr/>
          <p:nvPr>
            <p:custDataLst>
              <p:tags r:id="rId35"/>
            </p:custDataLst>
          </p:nvPr>
        </p:nvSpPr>
        <p:spPr bwMode="gray">
          <a:xfrm>
            <a:off x="4932040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42" name="Rechteck 41"/>
          <p:cNvSpPr/>
          <p:nvPr>
            <p:custDataLst>
              <p:tags r:id="rId36"/>
            </p:custDataLst>
          </p:nvPr>
        </p:nvSpPr>
        <p:spPr bwMode="gray">
          <a:xfrm>
            <a:off x="4499992" y="1116000"/>
            <a:ext cx="648072" cy="3132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3</a:t>
            </a:r>
          </a:p>
        </p:txBody>
      </p:sp>
      <p:sp>
        <p:nvSpPr>
          <p:cNvPr id="43" name="Rechteck 42"/>
          <p:cNvSpPr/>
          <p:nvPr>
            <p:custDataLst>
              <p:tags r:id="rId37"/>
            </p:custDataLst>
          </p:nvPr>
        </p:nvSpPr>
        <p:spPr bwMode="gray">
          <a:xfrm>
            <a:off x="5148064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44" name="Rechteck 43"/>
          <p:cNvSpPr/>
          <p:nvPr>
            <p:custDataLst>
              <p:tags r:id="rId38"/>
            </p:custDataLst>
          </p:nvPr>
        </p:nvSpPr>
        <p:spPr bwMode="gray">
          <a:xfrm>
            <a:off x="5364088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45" name="Rechteck 44"/>
          <p:cNvSpPr/>
          <p:nvPr>
            <p:custDataLst>
              <p:tags r:id="rId39"/>
            </p:custDataLst>
          </p:nvPr>
        </p:nvSpPr>
        <p:spPr bwMode="gray">
          <a:xfrm>
            <a:off x="5580112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46" name="Rechteck 45"/>
          <p:cNvSpPr/>
          <p:nvPr>
            <p:custDataLst>
              <p:tags r:id="rId40"/>
            </p:custDataLst>
          </p:nvPr>
        </p:nvSpPr>
        <p:spPr bwMode="gray">
          <a:xfrm>
            <a:off x="5148064" y="1116000"/>
            <a:ext cx="648072" cy="3132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4</a:t>
            </a:r>
          </a:p>
        </p:txBody>
      </p:sp>
      <p:cxnSp>
        <p:nvCxnSpPr>
          <p:cNvPr id="49" name="Gerade Verbindung 48"/>
          <p:cNvCxnSpPr/>
          <p:nvPr>
            <p:custDataLst>
              <p:tags r:id="rId41"/>
            </p:custDataLst>
          </p:nvPr>
        </p:nvCxnSpPr>
        <p:spPr>
          <a:xfrm flipH="1">
            <a:off x="1259541" y="1125290"/>
            <a:ext cx="91" cy="3132000"/>
          </a:xfrm>
          <a:prstGeom prst="line">
            <a:avLst/>
          </a:prstGeom>
          <a:ln w="1905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49"/>
          <p:cNvCxnSpPr/>
          <p:nvPr>
            <p:custDataLst>
              <p:tags r:id="rId42"/>
            </p:custDataLst>
          </p:nvPr>
        </p:nvCxnSpPr>
        <p:spPr>
          <a:xfrm rot="5400000">
            <a:off x="341704" y="2691290"/>
            <a:ext cx="3132000" cy="0"/>
          </a:xfrm>
          <a:prstGeom prst="line">
            <a:avLst/>
          </a:prstGeom>
          <a:ln w="1905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50"/>
          <p:cNvCxnSpPr/>
          <p:nvPr>
            <p:custDataLst>
              <p:tags r:id="rId43"/>
            </p:custDataLst>
          </p:nvPr>
        </p:nvCxnSpPr>
        <p:spPr>
          <a:xfrm rot="5400000">
            <a:off x="989776" y="2691290"/>
            <a:ext cx="3132000" cy="0"/>
          </a:xfrm>
          <a:prstGeom prst="line">
            <a:avLst/>
          </a:prstGeom>
          <a:ln w="1905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rade Verbindung 51"/>
          <p:cNvCxnSpPr/>
          <p:nvPr>
            <p:custDataLst>
              <p:tags r:id="rId44"/>
            </p:custDataLst>
          </p:nvPr>
        </p:nvCxnSpPr>
        <p:spPr>
          <a:xfrm>
            <a:off x="3851920" y="1125290"/>
            <a:ext cx="2904" cy="3123981"/>
          </a:xfrm>
          <a:prstGeom prst="line">
            <a:avLst/>
          </a:prstGeom>
          <a:ln w="1905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 Verbindung 52"/>
          <p:cNvCxnSpPr/>
          <p:nvPr>
            <p:custDataLst>
              <p:tags r:id="rId45"/>
            </p:custDataLst>
          </p:nvPr>
        </p:nvCxnSpPr>
        <p:spPr>
          <a:xfrm rot="5400000">
            <a:off x="2933992" y="2691290"/>
            <a:ext cx="3132000" cy="0"/>
          </a:xfrm>
          <a:prstGeom prst="line">
            <a:avLst/>
          </a:prstGeom>
          <a:ln w="1905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53"/>
          <p:cNvCxnSpPr/>
          <p:nvPr>
            <p:custDataLst>
              <p:tags r:id="rId46"/>
            </p:custDataLst>
          </p:nvPr>
        </p:nvCxnSpPr>
        <p:spPr>
          <a:xfrm rot="5400000">
            <a:off x="3582064" y="2691290"/>
            <a:ext cx="3132000" cy="0"/>
          </a:xfrm>
          <a:prstGeom prst="line">
            <a:avLst/>
          </a:prstGeom>
          <a:ln w="1905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Rectangle 241"/>
          <p:cNvSpPr>
            <a:spLocks noChangeArrowheads="1"/>
          </p:cNvSpPr>
          <p:nvPr/>
        </p:nvSpPr>
        <p:spPr bwMode="gray">
          <a:xfrm>
            <a:off x="180229" y="4803551"/>
            <a:ext cx="8784383" cy="1444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90000" tIns="46800" rIns="90000" bIns="46800" anchor="ctr" anchorCtr="0">
            <a:noAutofit/>
          </a:bodyPr>
          <a:lstStyle/>
          <a:p>
            <a:pPr algn="l" defTabSz="74295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ja-JP" sz="800" kern="0" dirty="0" smtClean="0">
                <a:solidFill>
                  <a:sysClr val="windowText" lastClr="000000"/>
                </a:solidFill>
                <a:latin typeface="Arial"/>
                <a:ea typeface="+mn-ea"/>
              </a:rPr>
              <a:t>All dates are subject to change </a:t>
            </a:r>
          </a:p>
        </p:txBody>
      </p:sp>
      <p:sp>
        <p:nvSpPr>
          <p:cNvPr id="76" name="Rechteck 75"/>
          <p:cNvSpPr/>
          <p:nvPr>
            <p:custDataLst>
              <p:tags r:id="rId47"/>
            </p:custDataLst>
          </p:nvPr>
        </p:nvSpPr>
        <p:spPr bwMode="gray">
          <a:xfrm rot="16200000">
            <a:off x="-234495" y="1689613"/>
            <a:ext cx="1404000" cy="287954"/>
          </a:xfrm>
          <a:prstGeom prst="rect">
            <a:avLst/>
          </a:prstGeom>
          <a:gradFill flip="none" rotWithShape="1">
            <a:gsLst>
              <a:gs pos="30000">
                <a:schemeClr val="tx2"/>
              </a:gs>
              <a:gs pos="100000">
                <a:schemeClr val="tx2">
                  <a:lumMod val="60000"/>
                  <a:lumOff val="40000"/>
                </a:schemeClr>
              </a:gs>
            </a:gsLst>
            <a:lin ang="16200000" scaled="1"/>
            <a:tileRect/>
          </a:gra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90000" bIns="46800" rtlCol="0" anchor="ctr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5C5D"/>
              </a:buClr>
            </a:pPr>
            <a:endParaRPr kumimoji="0" lang="en-US" sz="1200" dirty="0" smtClean="0">
              <a:solidFill>
                <a:srgbClr val="FFFFFF"/>
              </a:solidFill>
            </a:endParaRPr>
          </a:p>
        </p:txBody>
      </p:sp>
      <p:sp>
        <p:nvSpPr>
          <p:cNvPr id="77" name="Text Placeholder 8"/>
          <p:cNvSpPr>
            <a:spLocks noGrp="1"/>
          </p:cNvSpPr>
          <p:nvPr>
            <p:ph type="body" sz="quarter" idx="26" hasCustomPrompt="1"/>
            <p:custDataLst>
              <p:tags r:id="rId48"/>
            </p:custDataLst>
          </p:nvPr>
        </p:nvSpPr>
        <p:spPr bwMode="gray">
          <a:xfrm rot="16200000">
            <a:off x="-234570" y="1689688"/>
            <a:ext cx="1404000" cy="287804"/>
          </a:xfrm>
        </p:spPr>
        <p:txBody>
          <a:bodyPr vert="horz" lIns="90000" tIns="0" rIns="90000" bIns="0" rtlCol="0" anchor="ctr" anchorCtr="0">
            <a:noAutofit/>
          </a:bodyPr>
          <a:lstStyle>
            <a:lvl1pPr>
              <a:buNone/>
              <a:defRPr lang="en-US" sz="12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516"/>
              </a:spcBef>
              <a:spcAft>
                <a:spcPts val="288"/>
              </a:spcAft>
              <a:buClr>
                <a:schemeClr val="accent2"/>
              </a:buClr>
              <a:buFont typeface="Wingdings" pitchFamily="2" charset="2"/>
              <a:buNone/>
            </a:pPr>
            <a:r>
              <a:rPr lang="en-US" dirty="0" smtClean="0"/>
              <a:t>Xxx</a:t>
            </a:r>
          </a:p>
        </p:txBody>
      </p:sp>
      <p:cxnSp>
        <p:nvCxnSpPr>
          <p:cNvPr id="75" name="Gerade Verbindung 74"/>
          <p:cNvCxnSpPr/>
          <p:nvPr>
            <p:custDataLst>
              <p:tags r:id="rId49"/>
            </p:custDataLst>
          </p:nvPr>
        </p:nvCxnSpPr>
        <p:spPr>
          <a:xfrm rot="5400000">
            <a:off x="1637476" y="2687480"/>
            <a:ext cx="3132000" cy="0"/>
          </a:xfrm>
          <a:prstGeom prst="line">
            <a:avLst/>
          </a:prstGeom>
          <a:ln w="1905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Rechteck 78"/>
          <p:cNvSpPr/>
          <p:nvPr>
            <p:custDataLst>
              <p:tags r:id="rId50"/>
            </p:custDataLst>
          </p:nvPr>
        </p:nvSpPr>
        <p:spPr bwMode="gray">
          <a:xfrm>
            <a:off x="3203940" y="1115984"/>
            <a:ext cx="2587380" cy="3420000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200" b="1" dirty="0" smtClean="0">
              <a:solidFill>
                <a:srgbClr val="000000"/>
              </a:solidFill>
            </a:endParaRPr>
          </a:p>
        </p:txBody>
      </p:sp>
      <p:sp>
        <p:nvSpPr>
          <p:cNvPr id="80" name="Text Placeholder 8"/>
          <p:cNvSpPr>
            <a:spLocks noGrp="1"/>
          </p:cNvSpPr>
          <p:nvPr>
            <p:ph type="body" sz="quarter" idx="27" hasCustomPrompt="1"/>
            <p:custDataLst>
              <p:tags r:id="rId51"/>
            </p:custDataLst>
          </p:nvPr>
        </p:nvSpPr>
        <p:spPr bwMode="gray">
          <a:xfrm>
            <a:off x="608284" y="4247952"/>
            <a:ext cx="2595192" cy="288032"/>
          </a:xfrm>
        </p:spPr>
        <p:txBody>
          <a:bodyPr lIns="90000" rIns="90000" anchor="ctr" anchorCtr="0"/>
          <a:lstStyle>
            <a:lvl1pPr algn="ctr">
              <a:buNone/>
              <a:defRPr sz="11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2016</a:t>
            </a:r>
          </a:p>
        </p:txBody>
      </p:sp>
      <p:sp>
        <p:nvSpPr>
          <p:cNvPr id="81" name="Rechteck 80"/>
          <p:cNvSpPr/>
          <p:nvPr>
            <p:custDataLst>
              <p:tags r:id="rId52"/>
            </p:custDataLst>
          </p:nvPr>
        </p:nvSpPr>
        <p:spPr bwMode="gray">
          <a:xfrm>
            <a:off x="611560" y="1115984"/>
            <a:ext cx="2592379" cy="3420000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200" b="1" dirty="0" smtClean="0">
              <a:solidFill>
                <a:srgbClr val="000000"/>
              </a:solidFill>
            </a:endParaRPr>
          </a:p>
        </p:txBody>
      </p:sp>
      <p:sp>
        <p:nvSpPr>
          <p:cNvPr id="83" name="Text Placeholder 8"/>
          <p:cNvSpPr>
            <a:spLocks noGrp="1"/>
          </p:cNvSpPr>
          <p:nvPr>
            <p:ph type="body" sz="quarter" idx="24" hasCustomPrompt="1"/>
            <p:custDataLst>
              <p:tags r:id="rId53"/>
            </p:custDataLst>
          </p:nvPr>
        </p:nvSpPr>
        <p:spPr bwMode="gray">
          <a:xfrm>
            <a:off x="3203940" y="4248001"/>
            <a:ext cx="2587381" cy="280992"/>
          </a:xfrm>
        </p:spPr>
        <p:txBody>
          <a:bodyPr lIns="90000" rIns="90000" anchor="ctr" anchorCtr="0"/>
          <a:lstStyle>
            <a:lvl1pPr algn="ctr">
              <a:buNone/>
              <a:defRPr sz="11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2017</a:t>
            </a:r>
          </a:p>
        </p:txBody>
      </p:sp>
      <p:sp>
        <p:nvSpPr>
          <p:cNvPr id="82" name="Rectangle 242"/>
          <p:cNvSpPr>
            <a:spLocks noChangeArrowheads="1"/>
          </p:cNvSpPr>
          <p:nvPr userDrawn="1"/>
        </p:nvSpPr>
        <p:spPr bwMode="gray">
          <a:xfrm>
            <a:off x="4067944" y="4588568"/>
            <a:ext cx="288032" cy="144463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tx2"/>
            </a:solidFill>
            <a:prstDash val="solid"/>
            <a:headEnd type="none" w="med" len="med"/>
            <a:tailEnd type="none" w="med" len="med"/>
          </a:ln>
          <a:effectLst/>
        </p:spPr>
        <p:txBody>
          <a:bodyPr wrap="square" lIns="90000" tIns="46800" rIns="90000" bIns="46800" anchor="ctr"/>
          <a:lstStyle/>
          <a:p>
            <a:pPr algn="l">
              <a:spcBef>
                <a:spcPts val="0"/>
              </a:spcBef>
              <a:spcAft>
                <a:spcPts val="0"/>
              </a:spcAft>
              <a:defRPr/>
            </a:pPr>
            <a:endParaRPr kumimoji="0" lang="en-US" altLang="ja-JP" sz="1100" b="1" kern="0">
              <a:latin typeface="Arial"/>
              <a:cs typeface="Arial"/>
            </a:endParaRPr>
          </a:p>
        </p:txBody>
      </p:sp>
      <p:sp>
        <p:nvSpPr>
          <p:cNvPr id="84" name="Rectangle 246"/>
          <p:cNvSpPr>
            <a:spLocks noChangeArrowheads="1"/>
          </p:cNvSpPr>
          <p:nvPr userDrawn="1"/>
        </p:nvSpPr>
        <p:spPr bwMode="gray">
          <a:xfrm>
            <a:off x="1691680" y="4588569"/>
            <a:ext cx="288032" cy="144462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75000"/>
                </a:schemeClr>
              </a:gs>
              <a:gs pos="50000">
                <a:schemeClr val="bg1">
                  <a:lumMod val="75000"/>
                </a:schemeClr>
              </a:gs>
              <a:gs pos="100000">
                <a:schemeClr val="bg2">
                  <a:shade val="100000"/>
                  <a:satMod val="115000"/>
                </a:schemeClr>
              </a:gs>
            </a:gsLst>
            <a:lin ang="5400000" scaled="1"/>
            <a:tileRect/>
          </a:gra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wrap="square" lIns="90000" tIns="46800" rIns="90000" bIns="46800" anchor="ctr"/>
          <a:lstStyle/>
          <a:p>
            <a:pPr algn="l" eaLnBrk="0" hangingPunct="0">
              <a:spcBef>
                <a:spcPts val="0"/>
              </a:spcBef>
              <a:spcAft>
                <a:spcPts val="0"/>
              </a:spcAft>
            </a:pPr>
            <a:endParaRPr kumimoji="0" lang="en-US" altLang="ja-JP" sz="1100" b="1" kern="0">
              <a:solidFill>
                <a:srgbClr val="FFFFFF"/>
              </a:solidFill>
              <a:latin typeface="Arial"/>
              <a:ea typeface="+mn-ea"/>
            </a:endParaRPr>
          </a:p>
        </p:txBody>
      </p:sp>
      <p:sp>
        <p:nvSpPr>
          <p:cNvPr id="85" name="Rectangle 247"/>
          <p:cNvSpPr>
            <a:spLocks noChangeArrowheads="1"/>
          </p:cNvSpPr>
          <p:nvPr userDrawn="1"/>
        </p:nvSpPr>
        <p:spPr bwMode="gray">
          <a:xfrm>
            <a:off x="1979712" y="4588568"/>
            <a:ext cx="1557338" cy="1444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90000" tIns="46800" rIns="90000" bIns="46800" anchor="ctr" anchorCtr="0">
            <a:noAutofit/>
          </a:bodyPr>
          <a:lstStyle/>
          <a:p>
            <a:pPr algn="l" defTabSz="74295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ja-JP" sz="900" kern="0" dirty="0" smtClean="0">
                <a:solidFill>
                  <a:sysClr val="windowText" lastClr="000000"/>
                </a:solidFill>
                <a:latin typeface="Arial"/>
                <a:ea typeface="+mn-ea"/>
              </a:rPr>
              <a:t>EOL as long as stock lasts</a:t>
            </a:r>
          </a:p>
        </p:txBody>
      </p:sp>
      <p:sp>
        <p:nvSpPr>
          <p:cNvPr id="86" name="Rectangle 242"/>
          <p:cNvSpPr>
            <a:spLocks noChangeArrowheads="1"/>
          </p:cNvSpPr>
          <p:nvPr userDrawn="1"/>
        </p:nvSpPr>
        <p:spPr bwMode="gray">
          <a:xfrm>
            <a:off x="1403648" y="4588568"/>
            <a:ext cx="288032" cy="144463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tx2"/>
            </a:solidFill>
            <a:prstDash val="solid"/>
            <a:headEnd type="none" w="med" len="med"/>
            <a:tailEnd type="none" w="med" len="med"/>
          </a:ln>
          <a:effectLst/>
        </p:spPr>
        <p:txBody>
          <a:bodyPr wrap="square" lIns="90000" tIns="46800" rIns="90000" bIns="46800" anchor="ctr"/>
          <a:lstStyle/>
          <a:p>
            <a:pPr algn="l">
              <a:spcBef>
                <a:spcPts val="0"/>
              </a:spcBef>
              <a:spcAft>
                <a:spcPts val="0"/>
              </a:spcAft>
              <a:defRPr/>
            </a:pPr>
            <a:endParaRPr kumimoji="0" lang="en-US" altLang="ja-JP" sz="1100" b="1" kern="0">
              <a:latin typeface="Arial"/>
              <a:cs typeface="Arial"/>
            </a:endParaRPr>
          </a:p>
        </p:txBody>
      </p:sp>
      <p:sp>
        <p:nvSpPr>
          <p:cNvPr id="87" name="Rectangle 243"/>
          <p:cNvSpPr>
            <a:spLocks noChangeArrowheads="1"/>
          </p:cNvSpPr>
          <p:nvPr userDrawn="1"/>
        </p:nvSpPr>
        <p:spPr bwMode="gray">
          <a:xfrm>
            <a:off x="4355976" y="4588568"/>
            <a:ext cx="2256284" cy="1444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90000" tIns="46800" rIns="90000" bIns="46800" anchor="ctr" anchorCtr="0">
            <a:noAutofit/>
          </a:bodyPr>
          <a:lstStyle/>
          <a:p>
            <a:pPr algn="l" defTabSz="74295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ja-JP" sz="900" kern="0" dirty="0" smtClean="0">
                <a:solidFill>
                  <a:sysClr val="windowText" lastClr="000000"/>
                </a:solidFill>
                <a:latin typeface="Arial"/>
                <a:ea typeface="+mn-ea"/>
              </a:rPr>
              <a:t>Roadmap produc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Rechteck 74"/>
          <p:cNvSpPr/>
          <p:nvPr>
            <p:custDataLst>
              <p:tags r:id="rId1"/>
            </p:custDataLst>
          </p:nvPr>
        </p:nvSpPr>
        <p:spPr bwMode="gray">
          <a:xfrm>
            <a:off x="318713" y="2088000"/>
            <a:ext cx="5472608" cy="936000"/>
          </a:xfrm>
          <a:prstGeom prst="rect">
            <a:avLst/>
          </a:prstGeom>
          <a:gradFill flip="none" rotWithShape="1">
            <a:gsLst>
              <a:gs pos="0">
                <a:schemeClr val="bg2"/>
              </a:gs>
              <a:gs pos="100000">
                <a:schemeClr val="bg1"/>
              </a:gs>
            </a:gsLst>
            <a:path path="circle">
              <a:fillToRect r="100000" b="100000"/>
            </a:path>
            <a:tileRect l="-100000" t="-10000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t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b="1" dirty="0" smtClean="0">
              <a:solidFill>
                <a:srgbClr val="000000"/>
              </a:solidFill>
            </a:endParaRPr>
          </a:p>
        </p:txBody>
      </p:sp>
      <p:sp>
        <p:nvSpPr>
          <p:cNvPr id="76" name="Rechteck 75"/>
          <p:cNvSpPr/>
          <p:nvPr>
            <p:custDataLst>
              <p:tags r:id="rId2"/>
            </p:custDataLst>
          </p:nvPr>
        </p:nvSpPr>
        <p:spPr bwMode="gray">
          <a:xfrm>
            <a:off x="323528" y="3060000"/>
            <a:ext cx="5472608" cy="936000"/>
          </a:xfrm>
          <a:prstGeom prst="rect">
            <a:avLst/>
          </a:prstGeom>
          <a:gradFill flip="none" rotWithShape="1">
            <a:gsLst>
              <a:gs pos="0">
                <a:schemeClr val="bg2"/>
              </a:gs>
              <a:gs pos="100000">
                <a:schemeClr val="bg1"/>
              </a:gs>
            </a:gsLst>
            <a:path path="circle">
              <a:fillToRect r="100000" b="100000"/>
            </a:path>
            <a:tileRect l="-100000" t="-10000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t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b="1" dirty="0" smtClean="0">
              <a:solidFill>
                <a:srgbClr val="000000"/>
              </a:solidFill>
            </a:endParaRPr>
          </a:p>
        </p:txBody>
      </p:sp>
      <p:sp>
        <p:nvSpPr>
          <p:cNvPr id="78" name="Rechteck 77"/>
          <p:cNvSpPr/>
          <p:nvPr>
            <p:custDataLst>
              <p:tags r:id="rId3"/>
            </p:custDataLst>
          </p:nvPr>
        </p:nvSpPr>
        <p:spPr bwMode="gray">
          <a:xfrm>
            <a:off x="323528" y="1116000"/>
            <a:ext cx="5472608" cy="936000"/>
          </a:xfrm>
          <a:prstGeom prst="rect">
            <a:avLst/>
          </a:prstGeom>
          <a:gradFill flip="none" rotWithShape="1">
            <a:gsLst>
              <a:gs pos="0">
                <a:schemeClr val="bg2"/>
              </a:gs>
              <a:gs pos="100000">
                <a:schemeClr val="bg1"/>
              </a:gs>
            </a:gsLst>
            <a:path path="circle">
              <a:fillToRect r="100000" b="100000"/>
            </a:path>
            <a:tileRect l="-100000" t="-10000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t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b="1" dirty="0" smtClean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7" name="Rechteck 6"/>
          <p:cNvSpPr/>
          <p:nvPr>
            <p:custDataLst>
              <p:tags r:id="rId4"/>
            </p:custDataLst>
          </p:nvPr>
        </p:nvSpPr>
        <p:spPr bwMode="gray">
          <a:xfrm rot="16200000">
            <a:off x="-418" y="3384000"/>
            <a:ext cx="936000" cy="287954"/>
          </a:xfrm>
          <a:prstGeom prst="rect">
            <a:avLst/>
          </a:prstGeom>
          <a:gradFill flip="none" rotWithShape="1">
            <a:gsLst>
              <a:gs pos="30000">
                <a:schemeClr val="tx2"/>
              </a:gs>
              <a:gs pos="100000">
                <a:schemeClr val="tx2">
                  <a:lumMod val="60000"/>
                  <a:lumOff val="40000"/>
                </a:schemeClr>
              </a:gs>
            </a:gsLst>
            <a:lin ang="16200000" scaled="1"/>
            <a:tileRect/>
          </a:gra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90000" bIns="46800" rtlCol="0" anchor="ctr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5C5D"/>
              </a:buClr>
            </a:pPr>
            <a:endParaRPr kumimoji="0" lang="en-US" sz="1200" dirty="0" smtClean="0">
              <a:solidFill>
                <a:srgbClr val="FFFFFF"/>
              </a:solidFill>
            </a:endParaRP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9" hasCustomPrompt="1"/>
            <p:custDataLst>
              <p:tags r:id="rId5"/>
            </p:custDataLst>
          </p:nvPr>
        </p:nvSpPr>
        <p:spPr bwMode="gray">
          <a:xfrm rot="16200000">
            <a:off x="0" y="3384000"/>
            <a:ext cx="936000" cy="287804"/>
          </a:xfrm>
        </p:spPr>
        <p:txBody>
          <a:bodyPr vert="horz" lIns="90000" tIns="0" rIns="90000" bIns="0" rtlCol="0" anchor="ctr" anchorCtr="0">
            <a:noAutofit/>
          </a:bodyPr>
          <a:lstStyle>
            <a:lvl1pPr>
              <a:buNone/>
              <a:defRPr lang="en-US" sz="12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516"/>
              </a:spcBef>
              <a:spcAft>
                <a:spcPts val="288"/>
              </a:spcAft>
              <a:buClr>
                <a:schemeClr val="accent2"/>
              </a:buClr>
              <a:buFont typeface="Wingdings" pitchFamily="2" charset="2"/>
              <a:buNone/>
            </a:pPr>
            <a:r>
              <a:rPr lang="en-US" dirty="0" smtClean="0"/>
              <a:t>Xxx</a:t>
            </a:r>
          </a:p>
        </p:txBody>
      </p:sp>
      <p:sp>
        <p:nvSpPr>
          <p:cNvPr id="11" name="Eine Ecke des Rechtecks abrunden 10"/>
          <p:cNvSpPr/>
          <p:nvPr>
            <p:custDataLst>
              <p:tags r:id="rId6"/>
            </p:custDataLst>
          </p:nvPr>
        </p:nvSpPr>
        <p:spPr bwMode="gray">
          <a:xfrm>
            <a:off x="6012160" y="1124744"/>
            <a:ext cx="2952453" cy="792088"/>
          </a:xfrm>
          <a:prstGeom prst="round1Rect">
            <a:avLst>
              <a:gd name="adj" fmla="val 48101"/>
            </a:avLst>
          </a:prstGeom>
          <a:gradFill flip="none" rotWithShape="1">
            <a:gsLst>
              <a:gs pos="30000">
                <a:schemeClr val="tx2"/>
              </a:gs>
              <a:gs pos="100000">
                <a:schemeClr val="tx2">
                  <a:lumMod val="60000"/>
                  <a:lumOff val="40000"/>
                </a:schemeClr>
              </a:gs>
            </a:gsLst>
            <a:lin ang="16200000" scaled="1"/>
            <a:tileRect/>
          </a:gra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5C5D"/>
              </a:buClr>
            </a:pPr>
            <a:endParaRPr kumimoji="0" lang="en-US" sz="1400" dirty="0" smtClean="0">
              <a:solidFill>
                <a:srgbClr val="FFFFFF"/>
              </a:solidFill>
            </a:endParaRPr>
          </a:p>
        </p:txBody>
      </p:sp>
      <p:sp>
        <p:nvSpPr>
          <p:cNvPr id="12" name="Rechteck 11"/>
          <p:cNvSpPr/>
          <p:nvPr>
            <p:custDataLst>
              <p:tags r:id="rId7"/>
            </p:custDataLst>
          </p:nvPr>
        </p:nvSpPr>
        <p:spPr bwMode="gray">
          <a:xfrm>
            <a:off x="6012160" y="1556247"/>
            <a:ext cx="2952453" cy="2988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266700" lvl="1" indent="-266700" algn="l" fontAlgn="auto">
              <a:spcBef>
                <a:spcPts val="516"/>
              </a:spcBef>
              <a:spcAft>
                <a:spcPts val="288"/>
              </a:spcAft>
              <a:buClr>
                <a:srgbClr val="A30B1A"/>
              </a:buClr>
              <a:buFont typeface="Wingdings" pitchFamily="2" charset="2"/>
              <a:buChar char="n"/>
            </a:pPr>
            <a:endParaRPr kumimoji="0" lang="en-US" sz="1050" dirty="0" smtClean="0">
              <a:solidFill>
                <a:srgbClr val="000000"/>
              </a:solidFill>
            </a:endParaRP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21"/>
            <p:custDataLst>
              <p:tags r:id="rId8"/>
            </p:custDataLst>
          </p:nvPr>
        </p:nvSpPr>
        <p:spPr bwMode="gray">
          <a:xfrm>
            <a:off x="6012160" y="1125463"/>
            <a:ext cx="2952453" cy="431329"/>
          </a:xfrm>
        </p:spPr>
        <p:txBody>
          <a:bodyPr lIns="90000" anchor="ctr" anchorCtr="0"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2"/>
            <p:custDataLst>
              <p:tags r:id="rId9"/>
            </p:custDataLst>
          </p:nvPr>
        </p:nvSpPr>
        <p:spPr bwMode="gray">
          <a:xfrm>
            <a:off x="6012160" y="1556246"/>
            <a:ext cx="2952453" cy="2988000"/>
          </a:xfrm>
        </p:spPr>
        <p:txBody>
          <a:bodyPr lIns="90000" tIns="82800" rIns="90000" anchor="t" anchorCtr="0"/>
          <a:lstStyle>
            <a:lvl1pPr marL="0" indent="0">
              <a:buFont typeface="Wingdings" pitchFamily="2" charset="2"/>
              <a:buNone/>
              <a:defRPr sz="1400" b="1">
                <a:solidFill>
                  <a:schemeClr val="tx1"/>
                </a:solidFill>
              </a:defRPr>
            </a:lvl1pPr>
            <a:lvl2pPr marL="266700" indent="-266700">
              <a:buClr>
                <a:schemeClr val="accent3"/>
              </a:buClr>
              <a:defRPr sz="1400"/>
            </a:lvl2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15" name="Rechteck 14"/>
          <p:cNvSpPr/>
          <p:nvPr>
            <p:custDataLst>
              <p:tags r:id="rId10"/>
            </p:custDataLst>
          </p:nvPr>
        </p:nvSpPr>
        <p:spPr bwMode="gray">
          <a:xfrm>
            <a:off x="611560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16" name="Rechteck 15"/>
          <p:cNvSpPr/>
          <p:nvPr>
            <p:custDataLst>
              <p:tags r:id="rId11"/>
            </p:custDataLst>
          </p:nvPr>
        </p:nvSpPr>
        <p:spPr bwMode="gray">
          <a:xfrm>
            <a:off x="827584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17" name="Rechteck 16"/>
          <p:cNvSpPr/>
          <p:nvPr>
            <p:custDataLst>
              <p:tags r:id="rId12"/>
            </p:custDataLst>
          </p:nvPr>
        </p:nvSpPr>
        <p:spPr bwMode="gray">
          <a:xfrm>
            <a:off x="1043608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18" name="Rechteck 17"/>
          <p:cNvSpPr/>
          <p:nvPr>
            <p:custDataLst>
              <p:tags r:id="rId13"/>
            </p:custDataLst>
          </p:nvPr>
        </p:nvSpPr>
        <p:spPr bwMode="gray">
          <a:xfrm>
            <a:off x="611560" y="1116000"/>
            <a:ext cx="648072" cy="3132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1</a:t>
            </a:r>
          </a:p>
        </p:txBody>
      </p:sp>
      <p:sp>
        <p:nvSpPr>
          <p:cNvPr id="19" name="Rechteck 18"/>
          <p:cNvSpPr/>
          <p:nvPr>
            <p:custDataLst>
              <p:tags r:id="rId14"/>
            </p:custDataLst>
          </p:nvPr>
        </p:nvSpPr>
        <p:spPr bwMode="gray">
          <a:xfrm>
            <a:off x="1259632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20" name="Rechteck 19"/>
          <p:cNvSpPr/>
          <p:nvPr>
            <p:custDataLst>
              <p:tags r:id="rId15"/>
            </p:custDataLst>
          </p:nvPr>
        </p:nvSpPr>
        <p:spPr bwMode="gray">
          <a:xfrm>
            <a:off x="1475656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21" name="Rechteck 20"/>
          <p:cNvSpPr/>
          <p:nvPr>
            <p:custDataLst>
              <p:tags r:id="rId16"/>
            </p:custDataLst>
          </p:nvPr>
        </p:nvSpPr>
        <p:spPr bwMode="gray">
          <a:xfrm>
            <a:off x="1691680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22" name="Rechteck 21"/>
          <p:cNvSpPr/>
          <p:nvPr>
            <p:custDataLst>
              <p:tags r:id="rId17"/>
            </p:custDataLst>
          </p:nvPr>
        </p:nvSpPr>
        <p:spPr bwMode="gray">
          <a:xfrm>
            <a:off x="1259632" y="1116000"/>
            <a:ext cx="648072" cy="3132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2</a:t>
            </a:r>
          </a:p>
        </p:txBody>
      </p:sp>
      <p:sp>
        <p:nvSpPr>
          <p:cNvPr id="23" name="Rechteck 22"/>
          <p:cNvSpPr/>
          <p:nvPr>
            <p:custDataLst>
              <p:tags r:id="rId18"/>
            </p:custDataLst>
          </p:nvPr>
        </p:nvSpPr>
        <p:spPr bwMode="gray">
          <a:xfrm>
            <a:off x="1907704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24" name="Rechteck 23"/>
          <p:cNvSpPr/>
          <p:nvPr>
            <p:custDataLst>
              <p:tags r:id="rId19"/>
            </p:custDataLst>
          </p:nvPr>
        </p:nvSpPr>
        <p:spPr bwMode="gray">
          <a:xfrm>
            <a:off x="2123728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25" name="Rechteck 24"/>
          <p:cNvSpPr/>
          <p:nvPr>
            <p:custDataLst>
              <p:tags r:id="rId20"/>
            </p:custDataLst>
          </p:nvPr>
        </p:nvSpPr>
        <p:spPr bwMode="gray">
          <a:xfrm>
            <a:off x="2339752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26" name="Rechteck 25"/>
          <p:cNvSpPr/>
          <p:nvPr>
            <p:custDataLst>
              <p:tags r:id="rId21"/>
            </p:custDataLst>
          </p:nvPr>
        </p:nvSpPr>
        <p:spPr bwMode="gray">
          <a:xfrm>
            <a:off x="1907704" y="1116000"/>
            <a:ext cx="648072" cy="3132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3</a:t>
            </a:r>
          </a:p>
        </p:txBody>
      </p:sp>
      <p:sp>
        <p:nvSpPr>
          <p:cNvPr id="27" name="Rechteck 26"/>
          <p:cNvSpPr/>
          <p:nvPr>
            <p:custDataLst>
              <p:tags r:id="rId22"/>
            </p:custDataLst>
          </p:nvPr>
        </p:nvSpPr>
        <p:spPr bwMode="gray">
          <a:xfrm>
            <a:off x="2555776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28" name="Rechteck 27"/>
          <p:cNvSpPr/>
          <p:nvPr>
            <p:custDataLst>
              <p:tags r:id="rId23"/>
            </p:custDataLst>
          </p:nvPr>
        </p:nvSpPr>
        <p:spPr bwMode="gray">
          <a:xfrm>
            <a:off x="2771800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29" name="Rechteck 28"/>
          <p:cNvSpPr/>
          <p:nvPr>
            <p:custDataLst>
              <p:tags r:id="rId24"/>
            </p:custDataLst>
          </p:nvPr>
        </p:nvSpPr>
        <p:spPr bwMode="gray">
          <a:xfrm>
            <a:off x="2987824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0" name="Rechteck 29"/>
          <p:cNvSpPr/>
          <p:nvPr>
            <p:custDataLst>
              <p:tags r:id="rId25"/>
            </p:custDataLst>
          </p:nvPr>
        </p:nvSpPr>
        <p:spPr bwMode="gray">
          <a:xfrm>
            <a:off x="2555776" y="1116000"/>
            <a:ext cx="648072" cy="3132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4</a:t>
            </a:r>
          </a:p>
        </p:txBody>
      </p:sp>
      <p:sp>
        <p:nvSpPr>
          <p:cNvPr id="31" name="Rechteck 30"/>
          <p:cNvSpPr/>
          <p:nvPr>
            <p:custDataLst>
              <p:tags r:id="rId26"/>
            </p:custDataLst>
          </p:nvPr>
        </p:nvSpPr>
        <p:spPr bwMode="gray">
          <a:xfrm>
            <a:off x="3203848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2" name="Rechteck 31"/>
          <p:cNvSpPr/>
          <p:nvPr>
            <p:custDataLst>
              <p:tags r:id="rId27"/>
            </p:custDataLst>
          </p:nvPr>
        </p:nvSpPr>
        <p:spPr bwMode="gray">
          <a:xfrm>
            <a:off x="3419872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3" name="Rechteck 32"/>
          <p:cNvSpPr/>
          <p:nvPr>
            <p:custDataLst>
              <p:tags r:id="rId28"/>
            </p:custDataLst>
          </p:nvPr>
        </p:nvSpPr>
        <p:spPr bwMode="gray">
          <a:xfrm>
            <a:off x="3635896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4" name="Rechteck 33"/>
          <p:cNvSpPr/>
          <p:nvPr>
            <p:custDataLst>
              <p:tags r:id="rId29"/>
            </p:custDataLst>
          </p:nvPr>
        </p:nvSpPr>
        <p:spPr bwMode="gray">
          <a:xfrm>
            <a:off x="3203848" y="1116000"/>
            <a:ext cx="648072" cy="3132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1</a:t>
            </a:r>
          </a:p>
        </p:txBody>
      </p:sp>
      <p:sp>
        <p:nvSpPr>
          <p:cNvPr id="35" name="Rechteck 34"/>
          <p:cNvSpPr/>
          <p:nvPr>
            <p:custDataLst>
              <p:tags r:id="rId30"/>
            </p:custDataLst>
          </p:nvPr>
        </p:nvSpPr>
        <p:spPr bwMode="gray">
          <a:xfrm>
            <a:off x="3851920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6" name="Rechteck 35"/>
          <p:cNvSpPr/>
          <p:nvPr>
            <p:custDataLst>
              <p:tags r:id="rId31"/>
            </p:custDataLst>
          </p:nvPr>
        </p:nvSpPr>
        <p:spPr bwMode="gray">
          <a:xfrm>
            <a:off x="4067944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7" name="Rechteck 36"/>
          <p:cNvSpPr/>
          <p:nvPr>
            <p:custDataLst>
              <p:tags r:id="rId32"/>
            </p:custDataLst>
          </p:nvPr>
        </p:nvSpPr>
        <p:spPr bwMode="gray">
          <a:xfrm>
            <a:off x="4283968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8" name="Rechteck 37"/>
          <p:cNvSpPr/>
          <p:nvPr>
            <p:custDataLst>
              <p:tags r:id="rId33"/>
            </p:custDataLst>
          </p:nvPr>
        </p:nvSpPr>
        <p:spPr bwMode="gray">
          <a:xfrm>
            <a:off x="3851920" y="1116000"/>
            <a:ext cx="648072" cy="3132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2</a:t>
            </a:r>
          </a:p>
        </p:txBody>
      </p:sp>
      <p:sp>
        <p:nvSpPr>
          <p:cNvPr id="39" name="Rechteck 38"/>
          <p:cNvSpPr/>
          <p:nvPr>
            <p:custDataLst>
              <p:tags r:id="rId34"/>
            </p:custDataLst>
          </p:nvPr>
        </p:nvSpPr>
        <p:spPr bwMode="gray">
          <a:xfrm>
            <a:off x="4499992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40" name="Rechteck 39"/>
          <p:cNvSpPr/>
          <p:nvPr>
            <p:custDataLst>
              <p:tags r:id="rId35"/>
            </p:custDataLst>
          </p:nvPr>
        </p:nvSpPr>
        <p:spPr bwMode="gray">
          <a:xfrm>
            <a:off x="4716016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41" name="Rechteck 40"/>
          <p:cNvSpPr/>
          <p:nvPr>
            <p:custDataLst>
              <p:tags r:id="rId36"/>
            </p:custDataLst>
          </p:nvPr>
        </p:nvSpPr>
        <p:spPr bwMode="gray">
          <a:xfrm>
            <a:off x="4932040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42" name="Rechteck 41"/>
          <p:cNvSpPr/>
          <p:nvPr>
            <p:custDataLst>
              <p:tags r:id="rId37"/>
            </p:custDataLst>
          </p:nvPr>
        </p:nvSpPr>
        <p:spPr bwMode="gray">
          <a:xfrm>
            <a:off x="4499992" y="1116000"/>
            <a:ext cx="648072" cy="3132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3</a:t>
            </a:r>
          </a:p>
        </p:txBody>
      </p:sp>
      <p:sp>
        <p:nvSpPr>
          <p:cNvPr id="43" name="Rechteck 42"/>
          <p:cNvSpPr/>
          <p:nvPr>
            <p:custDataLst>
              <p:tags r:id="rId38"/>
            </p:custDataLst>
          </p:nvPr>
        </p:nvSpPr>
        <p:spPr bwMode="gray">
          <a:xfrm>
            <a:off x="5148064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44" name="Rechteck 43"/>
          <p:cNvSpPr/>
          <p:nvPr>
            <p:custDataLst>
              <p:tags r:id="rId39"/>
            </p:custDataLst>
          </p:nvPr>
        </p:nvSpPr>
        <p:spPr bwMode="gray">
          <a:xfrm>
            <a:off x="5364088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45" name="Rechteck 44"/>
          <p:cNvSpPr/>
          <p:nvPr>
            <p:custDataLst>
              <p:tags r:id="rId40"/>
            </p:custDataLst>
          </p:nvPr>
        </p:nvSpPr>
        <p:spPr bwMode="gray">
          <a:xfrm>
            <a:off x="5580112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46" name="Rechteck 45"/>
          <p:cNvSpPr/>
          <p:nvPr>
            <p:custDataLst>
              <p:tags r:id="rId41"/>
            </p:custDataLst>
          </p:nvPr>
        </p:nvSpPr>
        <p:spPr bwMode="gray">
          <a:xfrm>
            <a:off x="5148064" y="1116000"/>
            <a:ext cx="648072" cy="3132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4</a:t>
            </a:r>
          </a:p>
        </p:txBody>
      </p:sp>
      <p:cxnSp>
        <p:nvCxnSpPr>
          <p:cNvPr id="49" name="Gerade Verbindung 48"/>
          <p:cNvCxnSpPr/>
          <p:nvPr>
            <p:custDataLst>
              <p:tags r:id="rId42"/>
            </p:custDataLst>
          </p:nvPr>
        </p:nvCxnSpPr>
        <p:spPr>
          <a:xfrm flipH="1">
            <a:off x="1255059" y="1125290"/>
            <a:ext cx="4573" cy="3123981"/>
          </a:xfrm>
          <a:prstGeom prst="line">
            <a:avLst/>
          </a:prstGeom>
          <a:ln w="1905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49"/>
          <p:cNvCxnSpPr/>
          <p:nvPr>
            <p:custDataLst>
              <p:tags r:id="rId43"/>
            </p:custDataLst>
          </p:nvPr>
        </p:nvCxnSpPr>
        <p:spPr>
          <a:xfrm rot="5400000">
            <a:off x="341704" y="2691290"/>
            <a:ext cx="3132000" cy="0"/>
          </a:xfrm>
          <a:prstGeom prst="line">
            <a:avLst/>
          </a:prstGeom>
          <a:ln w="1905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50"/>
          <p:cNvCxnSpPr/>
          <p:nvPr>
            <p:custDataLst>
              <p:tags r:id="rId44"/>
            </p:custDataLst>
          </p:nvPr>
        </p:nvCxnSpPr>
        <p:spPr>
          <a:xfrm rot="5400000">
            <a:off x="989776" y="2691290"/>
            <a:ext cx="3132000" cy="0"/>
          </a:xfrm>
          <a:prstGeom prst="line">
            <a:avLst/>
          </a:prstGeom>
          <a:ln w="1905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rade Verbindung 51"/>
          <p:cNvCxnSpPr/>
          <p:nvPr>
            <p:custDataLst>
              <p:tags r:id="rId45"/>
            </p:custDataLst>
          </p:nvPr>
        </p:nvCxnSpPr>
        <p:spPr>
          <a:xfrm flipH="1">
            <a:off x="3850342" y="1125290"/>
            <a:ext cx="1579" cy="3123981"/>
          </a:xfrm>
          <a:prstGeom prst="line">
            <a:avLst/>
          </a:prstGeom>
          <a:ln w="1905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 Verbindung 52"/>
          <p:cNvCxnSpPr/>
          <p:nvPr>
            <p:custDataLst>
              <p:tags r:id="rId46"/>
            </p:custDataLst>
          </p:nvPr>
        </p:nvCxnSpPr>
        <p:spPr>
          <a:xfrm rot="5400000">
            <a:off x="2933992" y="2691290"/>
            <a:ext cx="3132000" cy="0"/>
          </a:xfrm>
          <a:prstGeom prst="line">
            <a:avLst/>
          </a:prstGeom>
          <a:ln w="1905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53"/>
          <p:cNvCxnSpPr/>
          <p:nvPr>
            <p:custDataLst>
              <p:tags r:id="rId47"/>
            </p:custDataLst>
          </p:nvPr>
        </p:nvCxnSpPr>
        <p:spPr>
          <a:xfrm rot="5400000">
            <a:off x="3582064" y="2691290"/>
            <a:ext cx="3132000" cy="0"/>
          </a:xfrm>
          <a:prstGeom prst="line">
            <a:avLst/>
          </a:prstGeom>
          <a:ln w="1905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Rectangle 241"/>
          <p:cNvSpPr>
            <a:spLocks noChangeArrowheads="1"/>
          </p:cNvSpPr>
          <p:nvPr/>
        </p:nvSpPr>
        <p:spPr bwMode="gray">
          <a:xfrm>
            <a:off x="180229" y="4803551"/>
            <a:ext cx="8784383" cy="1444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90000" tIns="46800" rIns="90000" bIns="46800" anchor="ctr" anchorCtr="0">
            <a:noAutofit/>
          </a:bodyPr>
          <a:lstStyle/>
          <a:p>
            <a:pPr algn="l" defTabSz="74295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ja-JP" sz="800" kern="0" dirty="0" smtClean="0">
                <a:solidFill>
                  <a:sysClr val="windowText" lastClr="000000"/>
                </a:solidFill>
                <a:latin typeface="Arial"/>
                <a:ea typeface="+mn-ea"/>
              </a:rPr>
              <a:t>All dates are subject to change </a:t>
            </a:r>
          </a:p>
        </p:txBody>
      </p:sp>
      <p:sp>
        <p:nvSpPr>
          <p:cNvPr id="77" name="Rechteck 76"/>
          <p:cNvSpPr/>
          <p:nvPr>
            <p:custDataLst>
              <p:tags r:id="rId48"/>
            </p:custDataLst>
          </p:nvPr>
        </p:nvSpPr>
        <p:spPr bwMode="gray">
          <a:xfrm rot="16200000">
            <a:off x="0" y="2412000"/>
            <a:ext cx="936000" cy="287954"/>
          </a:xfrm>
          <a:prstGeom prst="rect">
            <a:avLst/>
          </a:prstGeom>
          <a:gradFill flip="none" rotWithShape="1">
            <a:gsLst>
              <a:gs pos="30000">
                <a:schemeClr val="tx2"/>
              </a:gs>
              <a:gs pos="100000">
                <a:schemeClr val="tx2">
                  <a:lumMod val="60000"/>
                  <a:lumOff val="40000"/>
                </a:schemeClr>
              </a:gs>
            </a:gsLst>
            <a:lin ang="16200000" scaled="1"/>
            <a:tileRect/>
          </a:gra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90000" bIns="46800" rtlCol="0" anchor="ctr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5C5D"/>
              </a:buClr>
            </a:pPr>
            <a:endParaRPr kumimoji="0" lang="en-US" sz="1200" dirty="0" smtClean="0">
              <a:solidFill>
                <a:srgbClr val="FFFFFF"/>
              </a:solidFill>
            </a:endParaRPr>
          </a:p>
        </p:txBody>
      </p:sp>
      <p:sp>
        <p:nvSpPr>
          <p:cNvPr id="79" name="Rechteck 78"/>
          <p:cNvSpPr/>
          <p:nvPr>
            <p:custDataLst>
              <p:tags r:id="rId49"/>
            </p:custDataLst>
          </p:nvPr>
        </p:nvSpPr>
        <p:spPr bwMode="gray">
          <a:xfrm rot="16200000">
            <a:off x="0" y="1440000"/>
            <a:ext cx="936000" cy="287954"/>
          </a:xfrm>
          <a:prstGeom prst="rect">
            <a:avLst/>
          </a:prstGeom>
          <a:gradFill flip="none" rotWithShape="1">
            <a:gsLst>
              <a:gs pos="30000">
                <a:schemeClr val="tx2"/>
              </a:gs>
              <a:gs pos="100000">
                <a:schemeClr val="tx2">
                  <a:lumMod val="60000"/>
                  <a:lumOff val="40000"/>
                </a:schemeClr>
              </a:gs>
            </a:gsLst>
            <a:lin ang="16200000" scaled="1"/>
            <a:tileRect/>
          </a:gra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90000" bIns="46800" rtlCol="0" anchor="ctr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5C5D"/>
              </a:buClr>
            </a:pPr>
            <a:endParaRPr kumimoji="0" lang="en-US" sz="1200" dirty="0" smtClean="0">
              <a:solidFill>
                <a:srgbClr val="FFFFFF"/>
              </a:solidFill>
            </a:endParaRPr>
          </a:p>
        </p:txBody>
      </p:sp>
      <p:sp>
        <p:nvSpPr>
          <p:cNvPr id="80" name="Text Placeholder 8"/>
          <p:cNvSpPr>
            <a:spLocks noGrp="1"/>
          </p:cNvSpPr>
          <p:nvPr>
            <p:ph type="body" sz="quarter" idx="26" hasCustomPrompt="1"/>
            <p:custDataLst>
              <p:tags r:id="rId50"/>
            </p:custDataLst>
          </p:nvPr>
        </p:nvSpPr>
        <p:spPr bwMode="gray">
          <a:xfrm rot="16200000">
            <a:off x="0" y="2412000"/>
            <a:ext cx="936000" cy="287804"/>
          </a:xfrm>
        </p:spPr>
        <p:txBody>
          <a:bodyPr vert="horz" lIns="90000" tIns="0" rIns="90000" bIns="0" rtlCol="0" anchor="ctr" anchorCtr="0">
            <a:noAutofit/>
          </a:bodyPr>
          <a:lstStyle>
            <a:lvl1pPr>
              <a:buNone/>
              <a:defRPr lang="en-US" sz="12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516"/>
              </a:spcBef>
              <a:spcAft>
                <a:spcPts val="288"/>
              </a:spcAft>
              <a:buClr>
                <a:schemeClr val="accent2"/>
              </a:buClr>
              <a:buFont typeface="Wingdings" pitchFamily="2" charset="2"/>
              <a:buNone/>
            </a:pPr>
            <a:r>
              <a:rPr lang="en-US" dirty="0" smtClean="0"/>
              <a:t>Xxx</a:t>
            </a:r>
          </a:p>
        </p:txBody>
      </p:sp>
      <p:sp>
        <p:nvSpPr>
          <p:cNvPr id="81" name="Text Placeholder 8"/>
          <p:cNvSpPr>
            <a:spLocks noGrp="1"/>
          </p:cNvSpPr>
          <p:nvPr>
            <p:ph type="body" sz="quarter" idx="27" hasCustomPrompt="1"/>
            <p:custDataLst>
              <p:tags r:id="rId51"/>
            </p:custDataLst>
          </p:nvPr>
        </p:nvSpPr>
        <p:spPr bwMode="gray">
          <a:xfrm rot="16200000">
            <a:off x="0" y="1440000"/>
            <a:ext cx="936000" cy="287804"/>
          </a:xfrm>
        </p:spPr>
        <p:txBody>
          <a:bodyPr vert="horz" lIns="90000" tIns="0" rIns="90000" bIns="0" rtlCol="0" anchor="ctr" anchorCtr="0">
            <a:noAutofit/>
          </a:bodyPr>
          <a:lstStyle>
            <a:lvl1pPr>
              <a:buNone/>
              <a:defRPr lang="en-US" sz="12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516"/>
              </a:spcBef>
              <a:spcAft>
                <a:spcPts val="288"/>
              </a:spcAft>
              <a:buClr>
                <a:schemeClr val="accent2"/>
              </a:buClr>
              <a:buFont typeface="Wingdings" pitchFamily="2" charset="2"/>
              <a:buNone/>
            </a:pPr>
            <a:r>
              <a:rPr lang="en-US" dirty="0" smtClean="0"/>
              <a:t>Xxx</a:t>
            </a:r>
          </a:p>
        </p:txBody>
      </p:sp>
      <p:cxnSp>
        <p:nvCxnSpPr>
          <p:cNvPr id="82" name="Gerade Verbindung 81"/>
          <p:cNvCxnSpPr/>
          <p:nvPr>
            <p:custDataLst>
              <p:tags r:id="rId52"/>
            </p:custDataLst>
          </p:nvPr>
        </p:nvCxnSpPr>
        <p:spPr>
          <a:xfrm rot="5400000">
            <a:off x="1637848" y="2691290"/>
            <a:ext cx="3132000" cy="0"/>
          </a:xfrm>
          <a:prstGeom prst="line">
            <a:avLst/>
          </a:prstGeom>
          <a:ln w="1905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Text Placeholder 8"/>
          <p:cNvSpPr>
            <a:spLocks noGrp="1"/>
          </p:cNvSpPr>
          <p:nvPr>
            <p:ph type="body" sz="quarter" idx="28" hasCustomPrompt="1"/>
            <p:custDataLst>
              <p:tags r:id="rId53"/>
            </p:custDataLst>
          </p:nvPr>
        </p:nvSpPr>
        <p:spPr bwMode="gray">
          <a:xfrm>
            <a:off x="618135" y="4241148"/>
            <a:ext cx="2590710" cy="287984"/>
          </a:xfrm>
        </p:spPr>
        <p:txBody>
          <a:bodyPr lIns="90000" rIns="90000" anchor="ctr" anchorCtr="0"/>
          <a:lstStyle>
            <a:lvl1pPr algn="ctr">
              <a:buNone/>
              <a:defRPr sz="11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2016</a:t>
            </a:r>
          </a:p>
        </p:txBody>
      </p:sp>
      <p:sp>
        <p:nvSpPr>
          <p:cNvPr id="86" name="Rechteck 85"/>
          <p:cNvSpPr/>
          <p:nvPr>
            <p:custDataLst>
              <p:tags r:id="rId54"/>
            </p:custDataLst>
          </p:nvPr>
        </p:nvSpPr>
        <p:spPr bwMode="gray">
          <a:xfrm>
            <a:off x="609272" y="1111837"/>
            <a:ext cx="2594576" cy="3419984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200" b="1" dirty="0" smtClean="0">
              <a:solidFill>
                <a:srgbClr val="000000"/>
              </a:solidFill>
            </a:endParaRPr>
          </a:p>
        </p:txBody>
      </p:sp>
      <p:sp>
        <p:nvSpPr>
          <p:cNvPr id="83" name="Rechteck 82"/>
          <p:cNvSpPr/>
          <p:nvPr>
            <p:custDataLst>
              <p:tags r:id="rId55"/>
            </p:custDataLst>
          </p:nvPr>
        </p:nvSpPr>
        <p:spPr bwMode="gray">
          <a:xfrm>
            <a:off x="3203849" y="1115984"/>
            <a:ext cx="2587472" cy="3420000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200" b="1" dirty="0" smtClean="0">
              <a:solidFill>
                <a:srgbClr val="000000"/>
              </a:solidFill>
            </a:endParaRPr>
          </a:p>
        </p:txBody>
      </p:sp>
      <p:sp>
        <p:nvSpPr>
          <p:cNvPr id="88" name="Text Placeholder 8"/>
          <p:cNvSpPr>
            <a:spLocks noGrp="1"/>
          </p:cNvSpPr>
          <p:nvPr>
            <p:ph type="body" sz="quarter" idx="24" hasCustomPrompt="1"/>
            <p:custDataLst>
              <p:tags r:id="rId56"/>
            </p:custDataLst>
          </p:nvPr>
        </p:nvSpPr>
        <p:spPr bwMode="gray">
          <a:xfrm>
            <a:off x="3203850" y="4248001"/>
            <a:ext cx="2587472" cy="280992"/>
          </a:xfrm>
        </p:spPr>
        <p:txBody>
          <a:bodyPr lIns="90000" rIns="90000" anchor="ctr" anchorCtr="0"/>
          <a:lstStyle>
            <a:lvl1pPr algn="ctr">
              <a:buNone/>
              <a:defRPr sz="11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2017</a:t>
            </a:r>
          </a:p>
        </p:txBody>
      </p:sp>
      <p:sp>
        <p:nvSpPr>
          <p:cNvPr id="85" name="Rectangle 242"/>
          <p:cNvSpPr>
            <a:spLocks noChangeArrowheads="1"/>
          </p:cNvSpPr>
          <p:nvPr userDrawn="1"/>
        </p:nvSpPr>
        <p:spPr bwMode="gray">
          <a:xfrm>
            <a:off x="4067944" y="4588568"/>
            <a:ext cx="288032" cy="144463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tx2"/>
            </a:solidFill>
            <a:prstDash val="solid"/>
            <a:headEnd type="none" w="med" len="med"/>
            <a:tailEnd type="none" w="med" len="med"/>
          </a:ln>
          <a:effectLst/>
        </p:spPr>
        <p:txBody>
          <a:bodyPr wrap="square" lIns="90000" tIns="46800" rIns="90000" bIns="46800" anchor="ctr"/>
          <a:lstStyle/>
          <a:p>
            <a:pPr algn="l">
              <a:spcBef>
                <a:spcPts val="0"/>
              </a:spcBef>
              <a:spcAft>
                <a:spcPts val="0"/>
              </a:spcAft>
              <a:defRPr/>
            </a:pPr>
            <a:endParaRPr kumimoji="0" lang="en-US" altLang="ja-JP" sz="1100" b="1" kern="0">
              <a:latin typeface="Arial"/>
              <a:cs typeface="Arial"/>
            </a:endParaRPr>
          </a:p>
        </p:txBody>
      </p:sp>
      <p:sp>
        <p:nvSpPr>
          <p:cNvPr id="87" name="Rectangle 246"/>
          <p:cNvSpPr>
            <a:spLocks noChangeArrowheads="1"/>
          </p:cNvSpPr>
          <p:nvPr userDrawn="1"/>
        </p:nvSpPr>
        <p:spPr bwMode="gray">
          <a:xfrm>
            <a:off x="1691680" y="4588569"/>
            <a:ext cx="288032" cy="144462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75000"/>
                </a:schemeClr>
              </a:gs>
              <a:gs pos="50000">
                <a:schemeClr val="bg1">
                  <a:lumMod val="75000"/>
                </a:schemeClr>
              </a:gs>
              <a:gs pos="100000">
                <a:schemeClr val="bg2">
                  <a:shade val="100000"/>
                  <a:satMod val="115000"/>
                </a:schemeClr>
              </a:gs>
            </a:gsLst>
            <a:lin ang="5400000" scaled="1"/>
            <a:tileRect/>
          </a:gra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wrap="square" lIns="90000" tIns="46800" rIns="90000" bIns="46800" anchor="ctr"/>
          <a:lstStyle/>
          <a:p>
            <a:pPr algn="l" eaLnBrk="0" hangingPunct="0">
              <a:spcBef>
                <a:spcPts val="0"/>
              </a:spcBef>
              <a:spcAft>
                <a:spcPts val="0"/>
              </a:spcAft>
            </a:pPr>
            <a:endParaRPr kumimoji="0" lang="en-US" altLang="ja-JP" sz="1100" b="1" kern="0">
              <a:solidFill>
                <a:srgbClr val="FFFFFF"/>
              </a:solidFill>
              <a:latin typeface="Arial"/>
              <a:ea typeface="+mn-ea"/>
            </a:endParaRPr>
          </a:p>
        </p:txBody>
      </p:sp>
      <p:sp>
        <p:nvSpPr>
          <p:cNvPr id="89" name="Rectangle 247"/>
          <p:cNvSpPr>
            <a:spLocks noChangeArrowheads="1"/>
          </p:cNvSpPr>
          <p:nvPr userDrawn="1"/>
        </p:nvSpPr>
        <p:spPr bwMode="gray">
          <a:xfrm>
            <a:off x="1979712" y="4588568"/>
            <a:ext cx="1557338" cy="1444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90000" tIns="46800" rIns="90000" bIns="46800" anchor="ctr" anchorCtr="0">
            <a:noAutofit/>
          </a:bodyPr>
          <a:lstStyle/>
          <a:p>
            <a:pPr algn="l" defTabSz="74295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ja-JP" sz="900" kern="0" dirty="0" smtClean="0">
                <a:solidFill>
                  <a:sysClr val="windowText" lastClr="000000"/>
                </a:solidFill>
                <a:latin typeface="Arial"/>
                <a:ea typeface="+mn-ea"/>
              </a:rPr>
              <a:t>EOL as long as stock lasts</a:t>
            </a:r>
          </a:p>
        </p:txBody>
      </p:sp>
      <p:sp>
        <p:nvSpPr>
          <p:cNvPr id="90" name="Rectangle 242"/>
          <p:cNvSpPr>
            <a:spLocks noChangeArrowheads="1"/>
          </p:cNvSpPr>
          <p:nvPr userDrawn="1"/>
        </p:nvSpPr>
        <p:spPr bwMode="gray">
          <a:xfrm>
            <a:off x="1403648" y="4588568"/>
            <a:ext cx="288032" cy="144463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tx2"/>
            </a:solidFill>
            <a:prstDash val="solid"/>
            <a:headEnd type="none" w="med" len="med"/>
            <a:tailEnd type="none" w="med" len="med"/>
          </a:ln>
          <a:effectLst/>
        </p:spPr>
        <p:txBody>
          <a:bodyPr wrap="square" lIns="90000" tIns="46800" rIns="90000" bIns="46800" anchor="ctr"/>
          <a:lstStyle/>
          <a:p>
            <a:pPr algn="l">
              <a:spcBef>
                <a:spcPts val="0"/>
              </a:spcBef>
              <a:spcAft>
                <a:spcPts val="0"/>
              </a:spcAft>
              <a:defRPr/>
            </a:pPr>
            <a:endParaRPr kumimoji="0" lang="en-US" altLang="ja-JP" sz="1100" b="1" kern="0">
              <a:latin typeface="Arial"/>
              <a:cs typeface="Arial"/>
            </a:endParaRPr>
          </a:p>
        </p:txBody>
      </p:sp>
      <p:sp>
        <p:nvSpPr>
          <p:cNvPr id="91" name="Rectangle 243"/>
          <p:cNvSpPr>
            <a:spLocks noChangeArrowheads="1"/>
          </p:cNvSpPr>
          <p:nvPr userDrawn="1"/>
        </p:nvSpPr>
        <p:spPr bwMode="gray">
          <a:xfrm>
            <a:off x="4355976" y="4588568"/>
            <a:ext cx="2256284" cy="1444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90000" tIns="46800" rIns="90000" bIns="46800" anchor="ctr" anchorCtr="0">
            <a:noAutofit/>
          </a:bodyPr>
          <a:lstStyle/>
          <a:p>
            <a:pPr algn="l" defTabSz="74295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ja-JP" sz="900" kern="0" dirty="0" smtClean="0">
                <a:solidFill>
                  <a:sysClr val="windowText" lastClr="000000"/>
                </a:solidFill>
                <a:latin typeface="Arial"/>
                <a:ea typeface="+mn-ea"/>
              </a:rPr>
              <a:t>Roadmap produc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Rechteck 81"/>
          <p:cNvSpPr/>
          <p:nvPr>
            <p:custDataLst>
              <p:tags r:id="rId1"/>
            </p:custDataLst>
          </p:nvPr>
        </p:nvSpPr>
        <p:spPr bwMode="gray">
          <a:xfrm>
            <a:off x="323528" y="1851670"/>
            <a:ext cx="5472608" cy="684000"/>
          </a:xfrm>
          <a:prstGeom prst="rect">
            <a:avLst/>
          </a:prstGeom>
          <a:gradFill flip="none" rotWithShape="1">
            <a:gsLst>
              <a:gs pos="0">
                <a:schemeClr val="bg2"/>
              </a:gs>
              <a:gs pos="100000">
                <a:schemeClr val="bg1"/>
              </a:gs>
            </a:gsLst>
            <a:path path="circle">
              <a:fillToRect r="100000" b="100000"/>
            </a:path>
            <a:tileRect l="-100000" t="-10000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t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b="1" dirty="0" smtClean="0">
              <a:solidFill>
                <a:srgbClr val="000000"/>
              </a:solidFill>
            </a:endParaRPr>
          </a:p>
        </p:txBody>
      </p:sp>
      <p:sp>
        <p:nvSpPr>
          <p:cNvPr id="75" name="Rechteck 74"/>
          <p:cNvSpPr/>
          <p:nvPr>
            <p:custDataLst>
              <p:tags r:id="rId2"/>
            </p:custDataLst>
          </p:nvPr>
        </p:nvSpPr>
        <p:spPr bwMode="gray">
          <a:xfrm>
            <a:off x="324000" y="2592000"/>
            <a:ext cx="5472608" cy="684000"/>
          </a:xfrm>
          <a:prstGeom prst="rect">
            <a:avLst/>
          </a:prstGeom>
          <a:gradFill flip="none" rotWithShape="1">
            <a:gsLst>
              <a:gs pos="0">
                <a:schemeClr val="bg2"/>
              </a:gs>
              <a:gs pos="100000">
                <a:schemeClr val="bg1"/>
              </a:gs>
            </a:gsLst>
            <a:path path="circle">
              <a:fillToRect r="100000" b="100000"/>
            </a:path>
            <a:tileRect l="-100000" t="-10000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t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b="1" dirty="0" smtClean="0">
              <a:solidFill>
                <a:srgbClr val="000000"/>
              </a:solidFill>
            </a:endParaRPr>
          </a:p>
        </p:txBody>
      </p:sp>
      <p:sp>
        <p:nvSpPr>
          <p:cNvPr id="76" name="Rechteck 75"/>
          <p:cNvSpPr/>
          <p:nvPr>
            <p:custDataLst>
              <p:tags r:id="rId3"/>
            </p:custDataLst>
          </p:nvPr>
        </p:nvSpPr>
        <p:spPr bwMode="gray">
          <a:xfrm>
            <a:off x="323528" y="3312000"/>
            <a:ext cx="5472608" cy="684000"/>
          </a:xfrm>
          <a:prstGeom prst="rect">
            <a:avLst/>
          </a:prstGeom>
          <a:gradFill flip="none" rotWithShape="1">
            <a:gsLst>
              <a:gs pos="0">
                <a:schemeClr val="bg2"/>
              </a:gs>
              <a:gs pos="100000">
                <a:schemeClr val="bg1"/>
              </a:gs>
            </a:gsLst>
            <a:path path="circle">
              <a:fillToRect r="100000" b="100000"/>
            </a:path>
            <a:tileRect l="-100000" t="-10000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t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b="1" dirty="0" smtClean="0">
              <a:solidFill>
                <a:srgbClr val="000000"/>
              </a:solidFill>
            </a:endParaRPr>
          </a:p>
        </p:txBody>
      </p:sp>
      <p:sp>
        <p:nvSpPr>
          <p:cNvPr id="78" name="Rechteck 77"/>
          <p:cNvSpPr/>
          <p:nvPr>
            <p:custDataLst>
              <p:tags r:id="rId4"/>
            </p:custDataLst>
          </p:nvPr>
        </p:nvSpPr>
        <p:spPr bwMode="gray">
          <a:xfrm>
            <a:off x="323528" y="1116000"/>
            <a:ext cx="5472608" cy="684000"/>
          </a:xfrm>
          <a:prstGeom prst="rect">
            <a:avLst/>
          </a:prstGeom>
          <a:gradFill flip="none" rotWithShape="1">
            <a:gsLst>
              <a:gs pos="0">
                <a:schemeClr val="bg2"/>
              </a:gs>
              <a:gs pos="100000">
                <a:schemeClr val="bg1"/>
              </a:gs>
            </a:gsLst>
            <a:path path="circle">
              <a:fillToRect r="100000" b="100000"/>
            </a:path>
            <a:tileRect l="-100000" t="-10000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t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b="1" dirty="0" smtClean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7" name="Rechteck 6"/>
          <p:cNvSpPr/>
          <p:nvPr>
            <p:custDataLst>
              <p:tags r:id="rId5"/>
            </p:custDataLst>
          </p:nvPr>
        </p:nvSpPr>
        <p:spPr bwMode="gray">
          <a:xfrm rot="16200000">
            <a:off x="125582" y="3510000"/>
            <a:ext cx="684000" cy="287954"/>
          </a:xfrm>
          <a:prstGeom prst="rect">
            <a:avLst/>
          </a:prstGeom>
          <a:gradFill flip="none" rotWithShape="1">
            <a:gsLst>
              <a:gs pos="30000">
                <a:schemeClr val="tx2"/>
              </a:gs>
              <a:gs pos="100000">
                <a:schemeClr val="tx2">
                  <a:lumMod val="60000"/>
                  <a:lumOff val="40000"/>
                </a:schemeClr>
              </a:gs>
            </a:gsLst>
            <a:lin ang="16200000" scaled="1"/>
            <a:tileRect/>
          </a:gra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90000" bIns="46800" rtlCol="0" anchor="ctr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5C5D"/>
              </a:buClr>
            </a:pPr>
            <a:endParaRPr kumimoji="0" lang="en-US" sz="1200" dirty="0" smtClean="0">
              <a:solidFill>
                <a:srgbClr val="FFFFFF"/>
              </a:solidFill>
            </a:endParaRP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9" hasCustomPrompt="1"/>
            <p:custDataLst>
              <p:tags r:id="rId6"/>
            </p:custDataLst>
          </p:nvPr>
        </p:nvSpPr>
        <p:spPr bwMode="gray">
          <a:xfrm rot="16200000">
            <a:off x="126000" y="3510000"/>
            <a:ext cx="684000" cy="287804"/>
          </a:xfrm>
        </p:spPr>
        <p:txBody>
          <a:bodyPr vert="horz" lIns="90000" tIns="0" rIns="90000" bIns="0" rtlCol="0" anchor="ctr" anchorCtr="0">
            <a:noAutofit/>
          </a:bodyPr>
          <a:lstStyle>
            <a:lvl1pPr>
              <a:buNone/>
              <a:defRPr lang="en-US" sz="12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516"/>
              </a:spcBef>
              <a:spcAft>
                <a:spcPts val="288"/>
              </a:spcAft>
              <a:buClr>
                <a:schemeClr val="accent2"/>
              </a:buClr>
              <a:buFont typeface="Wingdings" pitchFamily="2" charset="2"/>
              <a:buNone/>
            </a:pPr>
            <a:r>
              <a:rPr lang="en-US" dirty="0" smtClean="0"/>
              <a:t>Xxx</a:t>
            </a:r>
          </a:p>
        </p:txBody>
      </p:sp>
      <p:sp>
        <p:nvSpPr>
          <p:cNvPr id="11" name="Eine Ecke des Rechtecks abrunden 10"/>
          <p:cNvSpPr/>
          <p:nvPr>
            <p:custDataLst>
              <p:tags r:id="rId7"/>
            </p:custDataLst>
          </p:nvPr>
        </p:nvSpPr>
        <p:spPr bwMode="gray">
          <a:xfrm>
            <a:off x="6012160" y="1124744"/>
            <a:ext cx="2952453" cy="792088"/>
          </a:xfrm>
          <a:prstGeom prst="round1Rect">
            <a:avLst>
              <a:gd name="adj" fmla="val 48101"/>
            </a:avLst>
          </a:prstGeom>
          <a:gradFill flip="none" rotWithShape="1">
            <a:gsLst>
              <a:gs pos="30000">
                <a:schemeClr val="tx2"/>
              </a:gs>
              <a:gs pos="100000">
                <a:schemeClr val="tx2">
                  <a:lumMod val="60000"/>
                  <a:lumOff val="40000"/>
                </a:schemeClr>
              </a:gs>
            </a:gsLst>
            <a:lin ang="16200000" scaled="1"/>
            <a:tileRect/>
          </a:gra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5C5D"/>
              </a:buClr>
            </a:pPr>
            <a:endParaRPr kumimoji="0" lang="en-US" sz="1400" dirty="0" smtClean="0">
              <a:solidFill>
                <a:srgbClr val="FFFFFF"/>
              </a:solidFill>
            </a:endParaRPr>
          </a:p>
        </p:txBody>
      </p:sp>
      <p:sp>
        <p:nvSpPr>
          <p:cNvPr id="12" name="Rechteck 11"/>
          <p:cNvSpPr/>
          <p:nvPr>
            <p:custDataLst>
              <p:tags r:id="rId8"/>
            </p:custDataLst>
          </p:nvPr>
        </p:nvSpPr>
        <p:spPr bwMode="gray">
          <a:xfrm>
            <a:off x="6012160" y="1556247"/>
            <a:ext cx="2952453" cy="2988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266700" lvl="1" indent="-266700" algn="l" fontAlgn="auto">
              <a:spcBef>
                <a:spcPts val="516"/>
              </a:spcBef>
              <a:spcAft>
                <a:spcPts val="288"/>
              </a:spcAft>
              <a:buClr>
                <a:srgbClr val="A30B1A"/>
              </a:buClr>
              <a:buFont typeface="Wingdings" pitchFamily="2" charset="2"/>
              <a:buChar char="n"/>
            </a:pPr>
            <a:endParaRPr kumimoji="0" lang="en-US" sz="1050" dirty="0" smtClean="0">
              <a:solidFill>
                <a:srgbClr val="000000"/>
              </a:solidFill>
            </a:endParaRP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21"/>
            <p:custDataLst>
              <p:tags r:id="rId9"/>
            </p:custDataLst>
          </p:nvPr>
        </p:nvSpPr>
        <p:spPr bwMode="gray">
          <a:xfrm>
            <a:off x="6012160" y="1125463"/>
            <a:ext cx="2952453" cy="431329"/>
          </a:xfrm>
        </p:spPr>
        <p:txBody>
          <a:bodyPr lIns="90000" anchor="ctr" anchorCtr="0"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2"/>
            <p:custDataLst>
              <p:tags r:id="rId10"/>
            </p:custDataLst>
          </p:nvPr>
        </p:nvSpPr>
        <p:spPr bwMode="gray">
          <a:xfrm>
            <a:off x="6012160" y="1556246"/>
            <a:ext cx="2952453" cy="2988000"/>
          </a:xfrm>
        </p:spPr>
        <p:txBody>
          <a:bodyPr lIns="90000" tIns="82800" rIns="90000" anchor="t" anchorCtr="0"/>
          <a:lstStyle>
            <a:lvl1pPr marL="0" indent="0">
              <a:buFont typeface="Wingdings" pitchFamily="2" charset="2"/>
              <a:buNone/>
              <a:defRPr sz="1400" b="1">
                <a:solidFill>
                  <a:schemeClr val="tx1"/>
                </a:solidFill>
              </a:defRPr>
            </a:lvl1pPr>
            <a:lvl2pPr marL="266700" indent="-266700">
              <a:buClr>
                <a:schemeClr val="accent3"/>
              </a:buClr>
              <a:defRPr sz="1400"/>
            </a:lvl2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15" name="Rechteck 14"/>
          <p:cNvSpPr/>
          <p:nvPr>
            <p:custDataLst>
              <p:tags r:id="rId11"/>
            </p:custDataLst>
          </p:nvPr>
        </p:nvSpPr>
        <p:spPr bwMode="gray">
          <a:xfrm>
            <a:off x="611560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16" name="Rechteck 15"/>
          <p:cNvSpPr/>
          <p:nvPr>
            <p:custDataLst>
              <p:tags r:id="rId12"/>
            </p:custDataLst>
          </p:nvPr>
        </p:nvSpPr>
        <p:spPr bwMode="gray">
          <a:xfrm>
            <a:off x="827584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17" name="Rechteck 16"/>
          <p:cNvSpPr/>
          <p:nvPr>
            <p:custDataLst>
              <p:tags r:id="rId13"/>
            </p:custDataLst>
          </p:nvPr>
        </p:nvSpPr>
        <p:spPr bwMode="gray">
          <a:xfrm>
            <a:off x="1043608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18" name="Rechteck 17"/>
          <p:cNvSpPr/>
          <p:nvPr>
            <p:custDataLst>
              <p:tags r:id="rId14"/>
            </p:custDataLst>
          </p:nvPr>
        </p:nvSpPr>
        <p:spPr bwMode="gray">
          <a:xfrm>
            <a:off x="611560" y="1116000"/>
            <a:ext cx="648072" cy="3132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1</a:t>
            </a:r>
          </a:p>
        </p:txBody>
      </p:sp>
      <p:sp>
        <p:nvSpPr>
          <p:cNvPr id="19" name="Rechteck 18"/>
          <p:cNvSpPr/>
          <p:nvPr>
            <p:custDataLst>
              <p:tags r:id="rId15"/>
            </p:custDataLst>
          </p:nvPr>
        </p:nvSpPr>
        <p:spPr bwMode="gray">
          <a:xfrm>
            <a:off x="1259632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20" name="Rechteck 19"/>
          <p:cNvSpPr/>
          <p:nvPr>
            <p:custDataLst>
              <p:tags r:id="rId16"/>
            </p:custDataLst>
          </p:nvPr>
        </p:nvSpPr>
        <p:spPr bwMode="gray">
          <a:xfrm>
            <a:off x="1475656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21" name="Rechteck 20"/>
          <p:cNvSpPr/>
          <p:nvPr>
            <p:custDataLst>
              <p:tags r:id="rId17"/>
            </p:custDataLst>
          </p:nvPr>
        </p:nvSpPr>
        <p:spPr bwMode="gray">
          <a:xfrm>
            <a:off x="1691680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22" name="Rechteck 21"/>
          <p:cNvSpPr/>
          <p:nvPr>
            <p:custDataLst>
              <p:tags r:id="rId18"/>
            </p:custDataLst>
          </p:nvPr>
        </p:nvSpPr>
        <p:spPr bwMode="gray">
          <a:xfrm>
            <a:off x="1259632" y="1116000"/>
            <a:ext cx="648072" cy="3132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2</a:t>
            </a:r>
          </a:p>
        </p:txBody>
      </p:sp>
      <p:sp>
        <p:nvSpPr>
          <p:cNvPr id="23" name="Rechteck 22"/>
          <p:cNvSpPr/>
          <p:nvPr>
            <p:custDataLst>
              <p:tags r:id="rId19"/>
            </p:custDataLst>
          </p:nvPr>
        </p:nvSpPr>
        <p:spPr bwMode="gray">
          <a:xfrm>
            <a:off x="1907704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24" name="Rechteck 23"/>
          <p:cNvSpPr/>
          <p:nvPr>
            <p:custDataLst>
              <p:tags r:id="rId20"/>
            </p:custDataLst>
          </p:nvPr>
        </p:nvSpPr>
        <p:spPr bwMode="gray">
          <a:xfrm>
            <a:off x="2123728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25" name="Rechteck 24"/>
          <p:cNvSpPr/>
          <p:nvPr>
            <p:custDataLst>
              <p:tags r:id="rId21"/>
            </p:custDataLst>
          </p:nvPr>
        </p:nvSpPr>
        <p:spPr bwMode="gray">
          <a:xfrm>
            <a:off x="2339752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26" name="Rechteck 25"/>
          <p:cNvSpPr/>
          <p:nvPr>
            <p:custDataLst>
              <p:tags r:id="rId22"/>
            </p:custDataLst>
          </p:nvPr>
        </p:nvSpPr>
        <p:spPr bwMode="gray">
          <a:xfrm>
            <a:off x="1907704" y="1116000"/>
            <a:ext cx="648072" cy="3132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3</a:t>
            </a:r>
          </a:p>
        </p:txBody>
      </p:sp>
      <p:sp>
        <p:nvSpPr>
          <p:cNvPr id="27" name="Rechteck 26"/>
          <p:cNvSpPr/>
          <p:nvPr>
            <p:custDataLst>
              <p:tags r:id="rId23"/>
            </p:custDataLst>
          </p:nvPr>
        </p:nvSpPr>
        <p:spPr bwMode="gray">
          <a:xfrm>
            <a:off x="2555776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28" name="Rechteck 27"/>
          <p:cNvSpPr/>
          <p:nvPr>
            <p:custDataLst>
              <p:tags r:id="rId24"/>
            </p:custDataLst>
          </p:nvPr>
        </p:nvSpPr>
        <p:spPr bwMode="gray">
          <a:xfrm>
            <a:off x="2771800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29" name="Rechteck 28"/>
          <p:cNvSpPr/>
          <p:nvPr>
            <p:custDataLst>
              <p:tags r:id="rId25"/>
            </p:custDataLst>
          </p:nvPr>
        </p:nvSpPr>
        <p:spPr bwMode="gray">
          <a:xfrm>
            <a:off x="2987824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0" name="Rechteck 29"/>
          <p:cNvSpPr/>
          <p:nvPr>
            <p:custDataLst>
              <p:tags r:id="rId26"/>
            </p:custDataLst>
          </p:nvPr>
        </p:nvSpPr>
        <p:spPr bwMode="gray">
          <a:xfrm>
            <a:off x="2555776" y="1116000"/>
            <a:ext cx="648072" cy="3132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4</a:t>
            </a:r>
          </a:p>
        </p:txBody>
      </p:sp>
      <p:sp>
        <p:nvSpPr>
          <p:cNvPr id="31" name="Rechteck 30"/>
          <p:cNvSpPr/>
          <p:nvPr>
            <p:custDataLst>
              <p:tags r:id="rId27"/>
            </p:custDataLst>
          </p:nvPr>
        </p:nvSpPr>
        <p:spPr bwMode="gray">
          <a:xfrm>
            <a:off x="3203848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2" name="Rechteck 31"/>
          <p:cNvSpPr/>
          <p:nvPr>
            <p:custDataLst>
              <p:tags r:id="rId28"/>
            </p:custDataLst>
          </p:nvPr>
        </p:nvSpPr>
        <p:spPr bwMode="gray">
          <a:xfrm>
            <a:off x="3419872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3" name="Rechteck 32"/>
          <p:cNvSpPr/>
          <p:nvPr>
            <p:custDataLst>
              <p:tags r:id="rId29"/>
            </p:custDataLst>
          </p:nvPr>
        </p:nvSpPr>
        <p:spPr bwMode="gray">
          <a:xfrm>
            <a:off x="3635896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4" name="Rechteck 33"/>
          <p:cNvSpPr/>
          <p:nvPr>
            <p:custDataLst>
              <p:tags r:id="rId30"/>
            </p:custDataLst>
          </p:nvPr>
        </p:nvSpPr>
        <p:spPr bwMode="gray">
          <a:xfrm>
            <a:off x="3203848" y="1116000"/>
            <a:ext cx="648072" cy="3132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1</a:t>
            </a:r>
          </a:p>
        </p:txBody>
      </p:sp>
      <p:sp>
        <p:nvSpPr>
          <p:cNvPr id="35" name="Rechteck 34"/>
          <p:cNvSpPr/>
          <p:nvPr>
            <p:custDataLst>
              <p:tags r:id="rId31"/>
            </p:custDataLst>
          </p:nvPr>
        </p:nvSpPr>
        <p:spPr bwMode="gray">
          <a:xfrm>
            <a:off x="3851920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6" name="Rechteck 35"/>
          <p:cNvSpPr/>
          <p:nvPr>
            <p:custDataLst>
              <p:tags r:id="rId32"/>
            </p:custDataLst>
          </p:nvPr>
        </p:nvSpPr>
        <p:spPr bwMode="gray">
          <a:xfrm>
            <a:off x="4067944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7" name="Rechteck 36"/>
          <p:cNvSpPr/>
          <p:nvPr>
            <p:custDataLst>
              <p:tags r:id="rId33"/>
            </p:custDataLst>
          </p:nvPr>
        </p:nvSpPr>
        <p:spPr bwMode="gray">
          <a:xfrm>
            <a:off x="4283968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38" name="Rechteck 37"/>
          <p:cNvSpPr/>
          <p:nvPr>
            <p:custDataLst>
              <p:tags r:id="rId34"/>
            </p:custDataLst>
          </p:nvPr>
        </p:nvSpPr>
        <p:spPr bwMode="gray">
          <a:xfrm>
            <a:off x="3851920" y="1116000"/>
            <a:ext cx="648072" cy="3132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2</a:t>
            </a:r>
          </a:p>
        </p:txBody>
      </p:sp>
      <p:sp>
        <p:nvSpPr>
          <p:cNvPr id="39" name="Rechteck 38"/>
          <p:cNvSpPr/>
          <p:nvPr>
            <p:custDataLst>
              <p:tags r:id="rId35"/>
            </p:custDataLst>
          </p:nvPr>
        </p:nvSpPr>
        <p:spPr bwMode="gray">
          <a:xfrm>
            <a:off x="4499992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40" name="Rechteck 39"/>
          <p:cNvSpPr/>
          <p:nvPr>
            <p:custDataLst>
              <p:tags r:id="rId36"/>
            </p:custDataLst>
          </p:nvPr>
        </p:nvSpPr>
        <p:spPr bwMode="gray">
          <a:xfrm>
            <a:off x="4716016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41" name="Rechteck 40"/>
          <p:cNvSpPr/>
          <p:nvPr>
            <p:custDataLst>
              <p:tags r:id="rId37"/>
            </p:custDataLst>
          </p:nvPr>
        </p:nvSpPr>
        <p:spPr bwMode="gray">
          <a:xfrm>
            <a:off x="4932040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42" name="Rechteck 41"/>
          <p:cNvSpPr/>
          <p:nvPr>
            <p:custDataLst>
              <p:tags r:id="rId38"/>
            </p:custDataLst>
          </p:nvPr>
        </p:nvSpPr>
        <p:spPr bwMode="gray">
          <a:xfrm>
            <a:off x="4499992" y="1116000"/>
            <a:ext cx="648072" cy="3132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3</a:t>
            </a:r>
          </a:p>
        </p:txBody>
      </p:sp>
      <p:sp>
        <p:nvSpPr>
          <p:cNvPr id="43" name="Rechteck 42"/>
          <p:cNvSpPr/>
          <p:nvPr>
            <p:custDataLst>
              <p:tags r:id="rId39"/>
            </p:custDataLst>
          </p:nvPr>
        </p:nvSpPr>
        <p:spPr bwMode="gray">
          <a:xfrm>
            <a:off x="5148064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44" name="Rechteck 43"/>
          <p:cNvSpPr/>
          <p:nvPr>
            <p:custDataLst>
              <p:tags r:id="rId40"/>
            </p:custDataLst>
          </p:nvPr>
        </p:nvSpPr>
        <p:spPr bwMode="gray">
          <a:xfrm>
            <a:off x="5364088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45" name="Rechteck 44"/>
          <p:cNvSpPr/>
          <p:nvPr>
            <p:custDataLst>
              <p:tags r:id="rId41"/>
            </p:custDataLst>
          </p:nvPr>
        </p:nvSpPr>
        <p:spPr bwMode="gray">
          <a:xfrm>
            <a:off x="5580112" y="1116000"/>
            <a:ext cx="216024" cy="288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46" name="Rechteck 45"/>
          <p:cNvSpPr/>
          <p:nvPr>
            <p:custDataLst>
              <p:tags r:id="rId42"/>
            </p:custDataLst>
          </p:nvPr>
        </p:nvSpPr>
        <p:spPr bwMode="gray">
          <a:xfrm>
            <a:off x="5148064" y="1116000"/>
            <a:ext cx="648072" cy="3132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32400" rtlCol="0"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dirty="0" smtClean="0">
                <a:solidFill>
                  <a:srgbClr val="000000"/>
                </a:solidFill>
              </a:rPr>
              <a:t>Q4</a:t>
            </a:r>
          </a:p>
        </p:txBody>
      </p:sp>
      <p:cxnSp>
        <p:nvCxnSpPr>
          <p:cNvPr id="49" name="Gerade Verbindung 48"/>
          <p:cNvCxnSpPr/>
          <p:nvPr>
            <p:custDataLst>
              <p:tags r:id="rId43"/>
            </p:custDataLst>
          </p:nvPr>
        </p:nvCxnSpPr>
        <p:spPr>
          <a:xfrm>
            <a:off x="1259632" y="1125290"/>
            <a:ext cx="4392" cy="3128463"/>
          </a:xfrm>
          <a:prstGeom prst="line">
            <a:avLst/>
          </a:prstGeom>
          <a:ln w="1905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49"/>
          <p:cNvCxnSpPr/>
          <p:nvPr>
            <p:custDataLst>
              <p:tags r:id="rId44"/>
            </p:custDataLst>
          </p:nvPr>
        </p:nvCxnSpPr>
        <p:spPr>
          <a:xfrm rot="5400000">
            <a:off x="341704" y="2691290"/>
            <a:ext cx="3132000" cy="0"/>
          </a:xfrm>
          <a:prstGeom prst="line">
            <a:avLst/>
          </a:prstGeom>
          <a:ln w="1905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50"/>
          <p:cNvCxnSpPr/>
          <p:nvPr>
            <p:custDataLst>
              <p:tags r:id="rId45"/>
            </p:custDataLst>
          </p:nvPr>
        </p:nvCxnSpPr>
        <p:spPr>
          <a:xfrm rot="5400000">
            <a:off x="989776" y="2691290"/>
            <a:ext cx="3132000" cy="0"/>
          </a:xfrm>
          <a:prstGeom prst="line">
            <a:avLst/>
          </a:prstGeom>
          <a:ln w="1905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rade Verbindung 51"/>
          <p:cNvCxnSpPr/>
          <p:nvPr>
            <p:custDataLst>
              <p:tags r:id="rId46"/>
            </p:custDataLst>
          </p:nvPr>
        </p:nvCxnSpPr>
        <p:spPr>
          <a:xfrm flipH="1">
            <a:off x="3850341" y="1125290"/>
            <a:ext cx="1579" cy="3119498"/>
          </a:xfrm>
          <a:prstGeom prst="line">
            <a:avLst/>
          </a:prstGeom>
          <a:ln w="1905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 Verbindung 52"/>
          <p:cNvCxnSpPr/>
          <p:nvPr>
            <p:custDataLst>
              <p:tags r:id="rId47"/>
            </p:custDataLst>
          </p:nvPr>
        </p:nvCxnSpPr>
        <p:spPr>
          <a:xfrm rot="5400000">
            <a:off x="2933992" y="2691290"/>
            <a:ext cx="3132000" cy="0"/>
          </a:xfrm>
          <a:prstGeom prst="line">
            <a:avLst/>
          </a:prstGeom>
          <a:ln w="1905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53"/>
          <p:cNvCxnSpPr/>
          <p:nvPr>
            <p:custDataLst>
              <p:tags r:id="rId48"/>
            </p:custDataLst>
          </p:nvPr>
        </p:nvCxnSpPr>
        <p:spPr>
          <a:xfrm rot="5400000">
            <a:off x="3582064" y="2691290"/>
            <a:ext cx="3132000" cy="0"/>
          </a:xfrm>
          <a:prstGeom prst="line">
            <a:avLst/>
          </a:prstGeom>
          <a:ln w="1905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Rectangle 241"/>
          <p:cNvSpPr>
            <a:spLocks noChangeArrowheads="1"/>
          </p:cNvSpPr>
          <p:nvPr/>
        </p:nvSpPr>
        <p:spPr bwMode="gray">
          <a:xfrm>
            <a:off x="180229" y="4803551"/>
            <a:ext cx="8784383" cy="1444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90000" tIns="46800" rIns="90000" bIns="46800" anchor="ctr" anchorCtr="0">
            <a:noAutofit/>
          </a:bodyPr>
          <a:lstStyle/>
          <a:p>
            <a:pPr algn="l" defTabSz="74295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ja-JP" sz="800" kern="0" dirty="0" smtClean="0">
                <a:solidFill>
                  <a:sysClr val="windowText" lastClr="000000"/>
                </a:solidFill>
                <a:latin typeface="Arial"/>
                <a:ea typeface="+mn-ea"/>
              </a:rPr>
              <a:t>All dates are subject to change </a:t>
            </a:r>
          </a:p>
        </p:txBody>
      </p:sp>
      <p:sp>
        <p:nvSpPr>
          <p:cNvPr id="77" name="Rechteck 76"/>
          <p:cNvSpPr/>
          <p:nvPr>
            <p:custDataLst>
              <p:tags r:id="rId49"/>
            </p:custDataLst>
          </p:nvPr>
        </p:nvSpPr>
        <p:spPr bwMode="gray">
          <a:xfrm rot="16200000">
            <a:off x="126000" y="2772000"/>
            <a:ext cx="684000" cy="287954"/>
          </a:xfrm>
          <a:prstGeom prst="rect">
            <a:avLst/>
          </a:prstGeom>
          <a:gradFill flip="none" rotWithShape="1">
            <a:gsLst>
              <a:gs pos="30000">
                <a:schemeClr val="tx2"/>
              </a:gs>
              <a:gs pos="100000">
                <a:schemeClr val="tx2">
                  <a:lumMod val="60000"/>
                  <a:lumOff val="40000"/>
                </a:schemeClr>
              </a:gs>
            </a:gsLst>
            <a:lin ang="16200000" scaled="1"/>
            <a:tileRect/>
          </a:gra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90000" bIns="46800" rtlCol="0" anchor="ctr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5C5D"/>
              </a:buClr>
            </a:pPr>
            <a:endParaRPr kumimoji="0" lang="en-US" sz="1200" dirty="0" smtClean="0">
              <a:solidFill>
                <a:srgbClr val="FFFFFF"/>
              </a:solidFill>
            </a:endParaRPr>
          </a:p>
        </p:txBody>
      </p:sp>
      <p:sp>
        <p:nvSpPr>
          <p:cNvPr id="79" name="Rechteck 78"/>
          <p:cNvSpPr/>
          <p:nvPr>
            <p:custDataLst>
              <p:tags r:id="rId50"/>
            </p:custDataLst>
          </p:nvPr>
        </p:nvSpPr>
        <p:spPr bwMode="gray">
          <a:xfrm rot="16200000">
            <a:off x="126000" y="2052000"/>
            <a:ext cx="684000" cy="287954"/>
          </a:xfrm>
          <a:prstGeom prst="rect">
            <a:avLst/>
          </a:prstGeom>
          <a:gradFill flip="none" rotWithShape="1">
            <a:gsLst>
              <a:gs pos="30000">
                <a:schemeClr val="tx2"/>
              </a:gs>
              <a:gs pos="100000">
                <a:schemeClr val="tx2">
                  <a:lumMod val="60000"/>
                  <a:lumOff val="40000"/>
                </a:schemeClr>
              </a:gs>
            </a:gsLst>
            <a:lin ang="16200000" scaled="1"/>
            <a:tileRect/>
          </a:gra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90000" bIns="46800" rtlCol="0" anchor="ctr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5C5D"/>
              </a:buClr>
            </a:pPr>
            <a:endParaRPr kumimoji="0" lang="en-US" sz="1200" dirty="0" smtClean="0">
              <a:solidFill>
                <a:srgbClr val="FFFFFF"/>
              </a:solidFill>
            </a:endParaRPr>
          </a:p>
        </p:txBody>
      </p:sp>
      <p:sp>
        <p:nvSpPr>
          <p:cNvPr id="80" name="Text Placeholder 8"/>
          <p:cNvSpPr>
            <a:spLocks noGrp="1"/>
          </p:cNvSpPr>
          <p:nvPr>
            <p:ph type="body" sz="quarter" idx="26" hasCustomPrompt="1"/>
            <p:custDataLst>
              <p:tags r:id="rId51"/>
            </p:custDataLst>
          </p:nvPr>
        </p:nvSpPr>
        <p:spPr bwMode="gray">
          <a:xfrm rot="16200000">
            <a:off x="126000" y="2772000"/>
            <a:ext cx="684000" cy="287804"/>
          </a:xfrm>
        </p:spPr>
        <p:txBody>
          <a:bodyPr vert="horz" lIns="90000" tIns="0" rIns="90000" bIns="0" rtlCol="0" anchor="ctr" anchorCtr="0">
            <a:noAutofit/>
          </a:bodyPr>
          <a:lstStyle>
            <a:lvl1pPr>
              <a:buNone/>
              <a:defRPr lang="en-US" sz="12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516"/>
              </a:spcBef>
              <a:spcAft>
                <a:spcPts val="288"/>
              </a:spcAft>
              <a:buClr>
                <a:schemeClr val="accent2"/>
              </a:buClr>
              <a:buFont typeface="Wingdings" pitchFamily="2" charset="2"/>
              <a:buNone/>
            </a:pPr>
            <a:r>
              <a:rPr lang="en-US" dirty="0" smtClean="0"/>
              <a:t>Xxx</a:t>
            </a:r>
          </a:p>
        </p:txBody>
      </p:sp>
      <p:sp>
        <p:nvSpPr>
          <p:cNvPr id="81" name="Text Placeholder 8"/>
          <p:cNvSpPr>
            <a:spLocks noGrp="1"/>
          </p:cNvSpPr>
          <p:nvPr>
            <p:ph type="body" sz="quarter" idx="27" hasCustomPrompt="1"/>
            <p:custDataLst>
              <p:tags r:id="rId52"/>
            </p:custDataLst>
          </p:nvPr>
        </p:nvSpPr>
        <p:spPr bwMode="gray">
          <a:xfrm rot="16200000">
            <a:off x="126000" y="2052000"/>
            <a:ext cx="684000" cy="287804"/>
          </a:xfrm>
        </p:spPr>
        <p:txBody>
          <a:bodyPr vert="horz" lIns="90000" tIns="0" rIns="90000" bIns="0" rtlCol="0" anchor="ctr" anchorCtr="0">
            <a:noAutofit/>
          </a:bodyPr>
          <a:lstStyle>
            <a:lvl1pPr>
              <a:buNone/>
              <a:defRPr lang="en-US" sz="12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516"/>
              </a:spcBef>
              <a:spcAft>
                <a:spcPts val="288"/>
              </a:spcAft>
              <a:buClr>
                <a:schemeClr val="accent2"/>
              </a:buClr>
              <a:buFont typeface="Wingdings" pitchFamily="2" charset="2"/>
              <a:buNone/>
            </a:pPr>
            <a:r>
              <a:rPr lang="en-US" dirty="0" smtClean="0"/>
              <a:t>Xxx</a:t>
            </a:r>
          </a:p>
        </p:txBody>
      </p:sp>
      <p:sp>
        <p:nvSpPr>
          <p:cNvPr id="83" name="Rechteck 82"/>
          <p:cNvSpPr/>
          <p:nvPr>
            <p:custDataLst>
              <p:tags r:id="rId53"/>
            </p:custDataLst>
          </p:nvPr>
        </p:nvSpPr>
        <p:spPr bwMode="gray">
          <a:xfrm rot="16200000">
            <a:off x="126000" y="1332000"/>
            <a:ext cx="684000" cy="287954"/>
          </a:xfrm>
          <a:prstGeom prst="rect">
            <a:avLst/>
          </a:prstGeom>
          <a:gradFill flip="none" rotWithShape="1">
            <a:gsLst>
              <a:gs pos="30000">
                <a:schemeClr val="tx2"/>
              </a:gs>
              <a:gs pos="100000">
                <a:schemeClr val="tx2">
                  <a:lumMod val="60000"/>
                  <a:lumOff val="40000"/>
                </a:schemeClr>
              </a:gs>
            </a:gsLst>
            <a:lin ang="16200000" scaled="1"/>
            <a:tileRect/>
          </a:gra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90000" bIns="46800" rtlCol="0" anchor="ctr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5C5D"/>
              </a:buClr>
            </a:pPr>
            <a:endParaRPr kumimoji="0" lang="en-US" sz="1200" dirty="0" smtClean="0">
              <a:solidFill>
                <a:srgbClr val="FFFFFF"/>
              </a:solidFill>
            </a:endParaRPr>
          </a:p>
        </p:txBody>
      </p:sp>
      <p:sp>
        <p:nvSpPr>
          <p:cNvPr id="84" name="Text Placeholder 8"/>
          <p:cNvSpPr>
            <a:spLocks noGrp="1"/>
          </p:cNvSpPr>
          <p:nvPr>
            <p:ph type="body" sz="quarter" idx="28" hasCustomPrompt="1"/>
            <p:custDataLst>
              <p:tags r:id="rId54"/>
            </p:custDataLst>
          </p:nvPr>
        </p:nvSpPr>
        <p:spPr bwMode="gray">
          <a:xfrm rot="16200000">
            <a:off x="126000" y="1332000"/>
            <a:ext cx="684000" cy="287804"/>
          </a:xfrm>
        </p:spPr>
        <p:txBody>
          <a:bodyPr vert="horz" lIns="90000" tIns="0" rIns="90000" bIns="0" rtlCol="0" anchor="ctr" anchorCtr="0">
            <a:noAutofit/>
          </a:bodyPr>
          <a:lstStyle>
            <a:lvl1pPr>
              <a:buNone/>
              <a:defRPr lang="en-US" sz="12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516"/>
              </a:spcBef>
              <a:spcAft>
                <a:spcPts val="288"/>
              </a:spcAft>
              <a:buClr>
                <a:schemeClr val="accent2"/>
              </a:buClr>
              <a:buFont typeface="Wingdings" pitchFamily="2" charset="2"/>
              <a:buNone/>
            </a:pPr>
            <a:r>
              <a:rPr lang="en-US" dirty="0" smtClean="0"/>
              <a:t>Xxx</a:t>
            </a:r>
          </a:p>
        </p:txBody>
      </p:sp>
      <p:cxnSp>
        <p:nvCxnSpPr>
          <p:cNvPr id="85" name="Gerade Verbindung 84"/>
          <p:cNvCxnSpPr/>
          <p:nvPr>
            <p:custDataLst>
              <p:tags r:id="rId55"/>
            </p:custDataLst>
          </p:nvPr>
        </p:nvCxnSpPr>
        <p:spPr>
          <a:xfrm rot="5400000">
            <a:off x="1633666" y="2683670"/>
            <a:ext cx="3132000" cy="0"/>
          </a:xfrm>
          <a:prstGeom prst="line">
            <a:avLst/>
          </a:prstGeom>
          <a:ln w="1905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Rechteck 85"/>
          <p:cNvSpPr/>
          <p:nvPr>
            <p:custDataLst>
              <p:tags r:id="rId56"/>
            </p:custDataLst>
          </p:nvPr>
        </p:nvSpPr>
        <p:spPr bwMode="gray">
          <a:xfrm>
            <a:off x="3206180" y="1115984"/>
            <a:ext cx="2583079" cy="3420000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200" b="1" dirty="0" smtClean="0">
              <a:solidFill>
                <a:srgbClr val="000000"/>
              </a:solidFill>
            </a:endParaRPr>
          </a:p>
        </p:txBody>
      </p:sp>
      <p:sp>
        <p:nvSpPr>
          <p:cNvPr id="88" name="Rechteck 87"/>
          <p:cNvSpPr/>
          <p:nvPr>
            <p:custDataLst>
              <p:tags r:id="rId57"/>
            </p:custDataLst>
          </p:nvPr>
        </p:nvSpPr>
        <p:spPr bwMode="gray">
          <a:xfrm>
            <a:off x="619862" y="1115984"/>
            <a:ext cx="2586318" cy="3420000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1200" b="1" dirty="0" smtClean="0">
              <a:solidFill>
                <a:srgbClr val="000000"/>
              </a:solidFill>
            </a:endParaRPr>
          </a:p>
        </p:txBody>
      </p:sp>
      <p:sp>
        <p:nvSpPr>
          <p:cNvPr id="90" name="Text Placeholder 8"/>
          <p:cNvSpPr>
            <a:spLocks noGrp="1"/>
          </p:cNvSpPr>
          <p:nvPr>
            <p:ph type="body" sz="quarter" idx="30" hasCustomPrompt="1"/>
            <p:custDataLst>
              <p:tags r:id="rId58"/>
            </p:custDataLst>
          </p:nvPr>
        </p:nvSpPr>
        <p:spPr bwMode="gray">
          <a:xfrm>
            <a:off x="619862" y="4244788"/>
            <a:ext cx="2590710" cy="287984"/>
          </a:xfrm>
        </p:spPr>
        <p:txBody>
          <a:bodyPr lIns="90000" rIns="90000" anchor="ctr" anchorCtr="0"/>
          <a:lstStyle>
            <a:lvl1pPr algn="ctr">
              <a:buNone/>
              <a:defRPr sz="11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2016</a:t>
            </a:r>
          </a:p>
        </p:txBody>
      </p:sp>
      <p:sp>
        <p:nvSpPr>
          <p:cNvPr id="91" name="Text Placeholder 8"/>
          <p:cNvSpPr>
            <a:spLocks noGrp="1"/>
          </p:cNvSpPr>
          <p:nvPr>
            <p:ph type="body" sz="quarter" idx="24" hasCustomPrompt="1"/>
            <p:custDataLst>
              <p:tags r:id="rId59"/>
            </p:custDataLst>
          </p:nvPr>
        </p:nvSpPr>
        <p:spPr bwMode="gray">
          <a:xfrm>
            <a:off x="3199666" y="4248000"/>
            <a:ext cx="2585141" cy="280992"/>
          </a:xfrm>
        </p:spPr>
        <p:txBody>
          <a:bodyPr lIns="90000" rIns="90000" anchor="ctr" anchorCtr="0"/>
          <a:lstStyle>
            <a:lvl1pPr algn="ctr">
              <a:buNone/>
              <a:defRPr sz="11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2017</a:t>
            </a:r>
          </a:p>
        </p:txBody>
      </p:sp>
      <p:sp>
        <p:nvSpPr>
          <p:cNvPr id="87" name="Rectangle 242"/>
          <p:cNvSpPr>
            <a:spLocks noChangeArrowheads="1"/>
          </p:cNvSpPr>
          <p:nvPr userDrawn="1"/>
        </p:nvSpPr>
        <p:spPr bwMode="gray">
          <a:xfrm>
            <a:off x="4067944" y="4588568"/>
            <a:ext cx="288032" cy="144463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tx2"/>
            </a:solidFill>
            <a:prstDash val="solid"/>
            <a:headEnd type="none" w="med" len="med"/>
            <a:tailEnd type="none" w="med" len="med"/>
          </a:ln>
          <a:effectLst/>
        </p:spPr>
        <p:txBody>
          <a:bodyPr wrap="square" lIns="90000" tIns="46800" rIns="90000" bIns="46800" anchor="ctr"/>
          <a:lstStyle/>
          <a:p>
            <a:pPr algn="l">
              <a:spcBef>
                <a:spcPts val="0"/>
              </a:spcBef>
              <a:spcAft>
                <a:spcPts val="0"/>
              </a:spcAft>
              <a:defRPr/>
            </a:pPr>
            <a:endParaRPr kumimoji="0" lang="en-US" altLang="ja-JP" sz="1100" b="1" kern="0">
              <a:latin typeface="Arial"/>
              <a:cs typeface="Arial"/>
            </a:endParaRPr>
          </a:p>
        </p:txBody>
      </p:sp>
      <p:sp>
        <p:nvSpPr>
          <p:cNvPr id="89" name="Rectangle 246"/>
          <p:cNvSpPr>
            <a:spLocks noChangeArrowheads="1"/>
          </p:cNvSpPr>
          <p:nvPr userDrawn="1"/>
        </p:nvSpPr>
        <p:spPr bwMode="gray">
          <a:xfrm>
            <a:off x="1691680" y="4588569"/>
            <a:ext cx="288032" cy="144462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75000"/>
                </a:schemeClr>
              </a:gs>
              <a:gs pos="50000">
                <a:schemeClr val="bg1">
                  <a:lumMod val="75000"/>
                </a:schemeClr>
              </a:gs>
              <a:gs pos="100000">
                <a:schemeClr val="bg2">
                  <a:shade val="100000"/>
                  <a:satMod val="115000"/>
                </a:schemeClr>
              </a:gs>
            </a:gsLst>
            <a:lin ang="5400000" scaled="1"/>
            <a:tileRect/>
          </a:gra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wrap="square" lIns="90000" tIns="46800" rIns="90000" bIns="46800" anchor="ctr"/>
          <a:lstStyle/>
          <a:p>
            <a:pPr algn="l" eaLnBrk="0" hangingPunct="0">
              <a:spcBef>
                <a:spcPts val="0"/>
              </a:spcBef>
              <a:spcAft>
                <a:spcPts val="0"/>
              </a:spcAft>
            </a:pPr>
            <a:endParaRPr kumimoji="0" lang="en-US" altLang="ja-JP" sz="1100" b="1" kern="0">
              <a:solidFill>
                <a:srgbClr val="FFFFFF"/>
              </a:solidFill>
              <a:latin typeface="Arial"/>
              <a:ea typeface="+mn-ea"/>
            </a:endParaRPr>
          </a:p>
        </p:txBody>
      </p:sp>
      <p:sp>
        <p:nvSpPr>
          <p:cNvPr id="92" name="Rectangle 247"/>
          <p:cNvSpPr>
            <a:spLocks noChangeArrowheads="1"/>
          </p:cNvSpPr>
          <p:nvPr userDrawn="1"/>
        </p:nvSpPr>
        <p:spPr bwMode="gray">
          <a:xfrm>
            <a:off x="1979712" y="4588568"/>
            <a:ext cx="1557338" cy="1444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90000" tIns="46800" rIns="90000" bIns="46800" anchor="ctr" anchorCtr="0">
            <a:noAutofit/>
          </a:bodyPr>
          <a:lstStyle/>
          <a:p>
            <a:pPr algn="l" defTabSz="74295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ja-JP" sz="900" kern="0" dirty="0" smtClean="0">
                <a:solidFill>
                  <a:sysClr val="windowText" lastClr="000000"/>
                </a:solidFill>
                <a:latin typeface="Arial"/>
                <a:ea typeface="+mn-ea"/>
              </a:rPr>
              <a:t>EOL as long as stock lasts</a:t>
            </a:r>
          </a:p>
        </p:txBody>
      </p:sp>
      <p:sp>
        <p:nvSpPr>
          <p:cNvPr id="93" name="Rectangle 242"/>
          <p:cNvSpPr>
            <a:spLocks noChangeArrowheads="1"/>
          </p:cNvSpPr>
          <p:nvPr userDrawn="1"/>
        </p:nvSpPr>
        <p:spPr bwMode="gray">
          <a:xfrm>
            <a:off x="1403648" y="4588568"/>
            <a:ext cx="288032" cy="144463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tx2"/>
            </a:solidFill>
            <a:prstDash val="solid"/>
            <a:headEnd type="none" w="med" len="med"/>
            <a:tailEnd type="none" w="med" len="med"/>
          </a:ln>
          <a:effectLst/>
        </p:spPr>
        <p:txBody>
          <a:bodyPr wrap="square" lIns="90000" tIns="46800" rIns="90000" bIns="46800" anchor="ctr"/>
          <a:lstStyle/>
          <a:p>
            <a:pPr algn="l">
              <a:spcBef>
                <a:spcPts val="0"/>
              </a:spcBef>
              <a:spcAft>
                <a:spcPts val="0"/>
              </a:spcAft>
              <a:defRPr/>
            </a:pPr>
            <a:endParaRPr kumimoji="0" lang="en-US" altLang="ja-JP" sz="1100" b="1" kern="0">
              <a:latin typeface="Arial"/>
              <a:cs typeface="Arial"/>
            </a:endParaRPr>
          </a:p>
        </p:txBody>
      </p:sp>
      <p:sp>
        <p:nvSpPr>
          <p:cNvPr id="94" name="Rectangle 243"/>
          <p:cNvSpPr>
            <a:spLocks noChangeArrowheads="1"/>
          </p:cNvSpPr>
          <p:nvPr userDrawn="1"/>
        </p:nvSpPr>
        <p:spPr bwMode="gray">
          <a:xfrm>
            <a:off x="4355976" y="4588568"/>
            <a:ext cx="2256284" cy="1444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90000" tIns="46800" rIns="90000" bIns="46800" anchor="ctr" anchorCtr="0">
            <a:noAutofit/>
          </a:bodyPr>
          <a:lstStyle/>
          <a:p>
            <a:pPr algn="l" defTabSz="74295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ja-JP" sz="900" kern="0" dirty="0" smtClean="0">
                <a:solidFill>
                  <a:sysClr val="windowText" lastClr="000000"/>
                </a:solidFill>
                <a:latin typeface="Arial"/>
                <a:ea typeface="+mn-ea"/>
              </a:rPr>
              <a:t>Roadmap produc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losing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5"/>
          <p:cNvSpPr>
            <a:spLocks noChangeArrowheads="1"/>
          </p:cNvSpPr>
          <p:nvPr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GB" noProof="0" dirty="0"/>
          </a:p>
        </p:txBody>
      </p:sp>
      <p:grpSp>
        <p:nvGrpSpPr>
          <p:cNvPr id="34" name="Group 33"/>
          <p:cNvGrpSpPr/>
          <p:nvPr/>
        </p:nvGrpSpPr>
        <p:grpSpPr>
          <a:xfrm>
            <a:off x="2592388" y="1362075"/>
            <a:ext cx="3962400" cy="2005013"/>
            <a:chOff x="2592388" y="1362075"/>
            <a:chExt cx="3962400" cy="2005013"/>
          </a:xfrm>
        </p:grpSpPr>
        <p:sp>
          <p:nvSpPr>
            <p:cNvPr id="35" name="Freeform 8"/>
            <p:cNvSpPr>
              <a:spLocks/>
            </p:cNvSpPr>
            <p:nvPr/>
          </p:nvSpPr>
          <p:spPr bwMode="gray">
            <a:xfrm>
              <a:off x="2592388" y="3094038"/>
              <a:ext cx="115888" cy="190500"/>
            </a:xfrm>
            <a:custGeom>
              <a:avLst/>
              <a:gdLst/>
              <a:ahLst/>
              <a:cxnLst>
                <a:cxn ang="0">
                  <a:pos x="0" y="573"/>
                </a:cxn>
                <a:cxn ang="0">
                  <a:pos x="0" y="504"/>
                </a:cxn>
                <a:cxn ang="0">
                  <a:pos x="139" y="536"/>
                </a:cxn>
                <a:cxn ang="0">
                  <a:pos x="278" y="445"/>
                </a:cxn>
                <a:cxn ang="0">
                  <a:pos x="255" y="387"/>
                </a:cxn>
                <a:cxn ang="0">
                  <a:pos x="213" y="354"/>
                </a:cxn>
                <a:cxn ang="0">
                  <a:pos x="159" y="328"/>
                </a:cxn>
                <a:cxn ang="0">
                  <a:pos x="49" y="253"/>
                </a:cxn>
                <a:cxn ang="0">
                  <a:pos x="10" y="150"/>
                </a:cxn>
                <a:cxn ang="0">
                  <a:pos x="71" y="33"/>
                </a:cxn>
                <a:cxn ang="0">
                  <a:pos x="201" y="0"/>
                </a:cxn>
                <a:cxn ang="0">
                  <a:pos x="322" y="20"/>
                </a:cxn>
                <a:cxn ang="0">
                  <a:pos x="322" y="83"/>
                </a:cxn>
                <a:cxn ang="0">
                  <a:pos x="206" y="59"/>
                </a:cxn>
                <a:cxn ang="0">
                  <a:pos x="127" y="78"/>
                </a:cxn>
                <a:cxn ang="0">
                  <a:pos x="95" y="140"/>
                </a:cxn>
                <a:cxn ang="0">
                  <a:pos x="117" y="199"/>
                </a:cxn>
                <a:cxn ang="0">
                  <a:pos x="214" y="260"/>
                </a:cxn>
                <a:cxn ang="0">
                  <a:pos x="293" y="305"/>
                </a:cxn>
                <a:cxn ang="0">
                  <a:pos x="348" y="365"/>
                </a:cxn>
                <a:cxn ang="0">
                  <a:pos x="363" y="436"/>
                </a:cxn>
                <a:cxn ang="0">
                  <a:pos x="145" y="597"/>
                </a:cxn>
                <a:cxn ang="0">
                  <a:pos x="0" y="573"/>
                </a:cxn>
              </a:cxnLst>
              <a:rect l="0" t="0" r="r" b="b"/>
              <a:pathLst>
                <a:path w="363" h="597">
                  <a:moveTo>
                    <a:pt x="0" y="573"/>
                  </a:moveTo>
                  <a:cubicBezTo>
                    <a:pt x="0" y="504"/>
                    <a:pt x="0" y="504"/>
                    <a:pt x="0" y="504"/>
                  </a:cubicBezTo>
                  <a:cubicBezTo>
                    <a:pt x="38" y="526"/>
                    <a:pt x="84" y="536"/>
                    <a:pt x="139" y="536"/>
                  </a:cubicBezTo>
                  <a:cubicBezTo>
                    <a:pt x="232" y="536"/>
                    <a:pt x="278" y="506"/>
                    <a:pt x="278" y="445"/>
                  </a:cubicBezTo>
                  <a:cubicBezTo>
                    <a:pt x="278" y="422"/>
                    <a:pt x="270" y="402"/>
                    <a:pt x="255" y="387"/>
                  </a:cubicBezTo>
                  <a:cubicBezTo>
                    <a:pt x="242" y="374"/>
                    <a:pt x="228" y="363"/>
                    <a:pt x="213" y="354"/>
                  </a:cubicBezTo>
                  <a:cubicBezTo>
                    <a:pt x="199" y="347"/>
                    <a:pt x="181" y="338"/>
                    <a:pt x="159" y="328"/>
                  </a:cubicBezTo>
                  <a:cubicBezTo>
                    <a:pt x="107" y="302"/>
                    <a:pt x="70" y="277"/>
                    <a:pt x="49" y="253"/>
                  </a:cubicBezTo>
                  <a:cubicBezTo>
                    <a:pt x="23" y="224"/>
                    <a:pt x="10" y="190"/>
                    <a:pt x="10" y="150"/>
                  </a:cubicBezTo>
                  <a:cubicBezTo>
                    <a:pt x="10" y="97"/>
                    <a:pt x="30" y="58"/>
                    <a:pt x="71" y="33"/>
                  </a:cubicBezTo>
                  <a:cubicBezTo>
                    <a:pt x="105" y="11"/>
                    <a:pt x="148" y="0"/>
                    <a:pt x="201" y="0"/>
                  </a:cubicBezTo>
                  <a:cubicBezTo>
                    <a:pt x="238" y="0"/>
                    <a:pt x="279" y="7"/>
                    <a:pt x="322" y="20"/>
                  </a:cubicBezTo>
                  <a:cubicBezTo>
                    <a:pt x="322" y="83"/>
                    <a:pt x="322" y="83"/>
                    <a:pt x="322" y="83"/>
                  </a:cubicBezTo>
                  <a:cubicBezTo>
                    <a:pt x="286" y="67"/>
                    <a:pt x="247" y="59"/>
                    <a:pt x="206" y="59"/>
                  </a:cubicBezTo>
                  <a:cubicBezTo>
                    <a:pt x="174" y="59"/>
                    <a:pt x="148" y="65"/>
                    <a:pt x="127" y="78"/>
                  </a:cubicBezTo>
                  <a:cubicBezTo>
                    <a:pt x="105" y="90"/>
                    <a:pt x="95" y="111"/>
                    <a:pt x="95" y="140"/>
                  </a:cubicBezTo>
                  <a:cubicBezTo>
                    <a:pt x="95" y="164"/>
                    <a:pt x="102" y="184"/>
                    <a:pt x="117" y="199"/>
                  </a:cubicBezTo>
                  <a:cubicBezTo>
                    <a:pt x="132" y="214"/>
                    <a:pt x="164" y="234"/>
                    <a:pt x="214" y="260"/>
                  </a:cubicBezTo>
                  <a:cubicBezTo>
                    <a:pt x="254" y="280"/>
                    <a:pt x="280" y="294"/>
                    <a:pt x="293" y="305"/>
                  </a:cubicBezTo>
                  <a:cubicBezTo>
                    <a:pt x="319" y="323"/>
                    <a:pt x="337" y="343"/>
                    <a:pt x="348" y="365"/>
                  </a:cubicBezTo>
                  <a:cubicBezTo>
                    <a:pt x="358" y="384"/>
                    <a:pt x="363" y="408"/>
                    <a:pt x="363" y="436"/>
                  </a:cubicBezTo>
                  <a:cubicBezTo>
                    <a:pt x="363" y="543"/>
                    <a:pt x="290" y="597"/>
                    <a:pt x="145" y="597"/>
                  </a:cubicBezTo>
                  <a:cubicBezTo>
                    <a:pt x="86" y="597"/>
                    <a:pt x="38" y="589"/>
                    <a:pt x="0" y="573"/>
                  </a:cubicBezTo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36" name="Freeform 9"/>
            <p:cNvSpPr>
              <a:spLocks/>
            </p:cNvSpPr>
            <p:nvPr/>
          </p:nvSpPr>
          <p:spPr bwMode="gray">
            <a:xfrm>
              <a:off x="2751138" y="3008313"/>
              <a:ext cx="136525" cy="269875"/>
            </a:xfrm>
            <a:custGeom>
              <a:avLst/>
              <a:gdLst/>
              <a:ahLst/>
              <a:cxnLst>
                <a:cxn ang="0">
                  <a:pos x="0" y="851"/>
                </a:cxn>
                <a:cxn ang="0">
                  <a:pos x="0" y="0"/>
                </a:cxn>
                <a:cxn ang="0">
                  <a:pos x="96" y="0"/>
                </a:cxn>
                <a:cxn ang="0">
                  <a:pos x="96" y="300"/>
                </a:cxn>
                <a:cxn ang="0">
                  <a:pos x="239" y="270"/>
                </a:cxn>
                <a:cxn ang="0">
                  <a:pos x="411" y="359"/>
                </a:cxn>
                <a:cxn ang="0">
                  <a:pos x="429" y="504"/>
                </a:cxn>
                <a:cxn ang="0">
                  <a:pos x="429" y="851"/>
                </a:cxn>
                <a:cxn ang="0">
                  <a:pos x="332" y="851"/>
                </a:cxn>
                <a:cxn ang="0">
                  <a:pos x="332" y="489"/>
                </a:cxn>
                <a:cxn ang="0">
                  <a:pos x="315" y="374"/>
                </a:cxn>
                <a:cxn ang="0">
                  <a:pos x="229" y="329"/>
                </a:cxn>
                <a:cxn ang="0">
                  <a:pos x="96" y="363"/>
                </a:cxn>
                <a:cxn ang="0">
                  <a:pos x="96" y="851"/>
                </a:cxn>
                <a:cxn ang="0">
                  <a:pos x="0" y="851"/>
                </a:cxn>
              </a:cxnLst>
              <a:rect l="0" t="0" r="r" b="b"/>
              <a:pathLst>
                <a:path w="429" h="851">
                  <a:moveTo>
                    <a:pt x="0" y="85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6" y="300"/>
                    <a:pt x="96" y="300"/>
                    <a:pt x="96" y="300"/>
                  </a:cubicBezTo>
                  <a:cubicBezTo>
                    <a:pt x="147" y="280"/>
                    <a:pt x="194" y="270"/>
                    <a:pt x="239" y="270"/>
                  </a:cubicBezTo>
                  <a:cubicBezTo>
                    <a:pt x="328" y="270"/>
                    <a:pt x="386" y="300"/>
                    <a:pt x="411" y="359"/>
                  </a:cubicBezTo>
                  <a:cubicBezTo>
                    <a:pt x="423" y="386"/>
                    <a:pt x="429" y="434"/>
                    <a:pt x="429" y="504"/>
                  </a:cubicBezTo>
                  <a:cubicBezTo>
                    <a:pt x="429" y="851"/>
                    <a:pt x="429" y="851"/>
                    <a:pt x="429" y="851"/>
                  </a:cubicBezTo>
                  <a:cubicBezTo>
                    <a:pt x="332" y="851"/>
                    <a:pt x="332" y="851"/>
                    <a:pt x="332" y="851"/>
                  </a:cubicBezTo>
                  <a:cubicBezTo>
                    <a:pt x="332" y="489"/>
                    <a:pt x="332" y="489"/>
                    <a:pt x="332" y="489"/>
                  </a:cubicBezTo>
                  <a:cubicBezTo>
                    <a:pt x="332" y="435"/>
                    <a:pt x="326" y="397"/>
                    <a:pt x="315" y="374"/>
                  </a:cubicBezTo>
                  <a:cubicBezTo>
                    <a:pt x="300" y="344"/>
                    <a:pt x="271" y="329"/>
                    <a:pt x="229" y="329"/>
                  </a:cubicBezTo>
                  <a:cubicBezTo>
                    <a:pt x="192" y="329"/>
                    <a:pt x="147" y="340"/>
                    <a:pt x="96" y="363"/>
                  </a:cubicBezTo>
                  <a:cubicBezTo>
                    <a:pt x="96" y="851"/>
                    <a:pt x="96" y="851"/>
                    <a:pt x="96" y="851"/>
                  </a:cubicBezTo>
                  <a:lnTo>
                    <a:pt x="0" y="85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37" name="Freeform 10"/>
            <p:cNvSpPr>
              <a:spLocks noEditPoints="1"/>
            </p:cNvSpPr>
            <p:nvPr/>
          </p:nvSpPr>
          <p:spPr bwMode="gray">
            <a:xfrm>
              <a:off x="2928938" y="3094038"/>
              <a:ext cx="139700" cy="190500"/>
            </a:xfrm>
            <a:custGeom>
              <a:avLst/>
              <a:gdLst/>
              <a:ahLst/>
              <a:cxnLst>
                <a:cxn ang="0">
                  <a:pos x="342" y="224"/>
                </a:cxn>
                <a:cxn ang="0">
                  <a:pos x="342" y="194"/>
                </a:cxn>
                <a:cxn ang="0">
                  <a:pos x="324" y="108"/>
                </a:cxn>
                <a:cxn ang="0">
                  <a:pos x="212" y="61"/>
                </a:cxn>
                <a:cxn ang="0">
                  <a:pos x="55" y="93"/>
                </a:cxn>
                <a:cxn ang="0">
                  <a:pos x="55" y="25"/>
                </a:cxn>
                <a:cxn ang="0">
                  <a:pos x="222" y="0"/>
                </a:cxn>
                <a:cxn ang="0">
                  <a:pos x="404" y="60"/>
                </a:cxn>
                <a:cxn ang="0">
                  <a:pos x="437" y="157"/>
                </a:cxn>
                <a:cxn ang="0">
                  <a:pos x="439" y="227"/>
                </a:cxn>
                <a:cxn ang="0">
                  <a:pos x="439" y="570"/>
                </a:cxn>
                <a:cxn ang="0">
                  <a:pos x="229" y="597"/>
                </a:cxn>
                <a:cxn ang="0">
                  <a:pos x="64" y="564"/>
                </a:cxn>
                <a:cxn ang="0">
                  <a:pos x="0" y="438"/>
                </a:cxn>
                <a:cxn ang="0">
                  <a:pos x="75" y="285"/>
                </a:cxn>
                <a:cxn ang="0">
                  <a:pos x="263" y="233"/>
                </a:cxn>
                <a:cxn ang="0">
                  <a:pos x="342" y="224"/>
                </a:cxn>
                <a:cxn ang="0">
                  <a:pos x="342" y="279"/>
                </a:cxn>
                <a:cxn ang="0">
                  <a:pos x="208" y="300"/>
                </a:cxn>
                <a:cxn ang="0">
                  <a:pos x="99" y="428"/>
                </a:cxn>
                <a:cxn ang="0">
                  <a:pos x="131" y="509"/>
                </a:cxn>
                <a:cxn ang="0">
                  <a:pos x="244" y="539"/>
                </a:cxn>
                <a:cxn ang="0">
                  <a:pos x="342" y="525"/>
                </a:cxn>
                <a:cxn ang="0">
                  <a:pos x="342" y="279"/>
                </a:cxn>
              </a:cxnLst>
              <a:rect l="0" t="0" r="r" b="b"/>
              <a:pathLst>
                <a:path w="439" h="597">
                  <a:moveTo>
                    <a:pt x="342" y="224"/>
                  </a:moveTo>
                  <a:cubicBezTo>
                    <a:pt x="342" y="194"/>
                    <a:pt x="342" y="194"/>
                    <a:pt x="342" y="194"/>
                  </a:cubicBezTo>
                  <a:cubicBezTo>
                    <a:pt x="342" y="157"/>
                    <a:pt x="336" y="129"/>
                    <a:pt x="324" y="108"/>
                  </a:cubicBezTo>
                  <a:cubicBezTo>
                    <a:pt x="306" y="77"/>
                    <a:pt x="269" y="61"/>
                    <a:pt x="212" y="61"/>
                  </a:cubicBezTo>
                  <a:cubicBezTo>
                    <a:pt x="160" y="61"/>
                    <a:pt x="108" y="71"/>
                    <a:pt x="55" y="93"/>
                  </a:cubicBezTo>
                  <a:cubicBezTo>
                    <a:pt x="55" y="25"/>
                    <a:pt x="55" y="25"/>
                    <a:pt x="55" y="25"/>
                  </a:cubicBezTo>
                  <a:cubicBezTo>
                    <a:pt x="108" y="9"/>
                    <a:pt x="164" y="0"/>
                    <a:pt x="222" y="0"/>
                  </a:cubicBezTo>
                  <a:cubicBezTo>
                    <a:pt x="310" y="0"/>
                    <a:pt x="371" y="20"/>
                    <a:pt x="404" y="60"/>
                  </a:cubicBezTo>
                  <a:cubicBezTo>
                    <a:pt x="422" y="82"/>
                    <a:pt x="432" y="114"/>
                    <a:pt x="437" y="157"/>
                  </a:cubicBezTo>
                  <a:cubicBezTo>
                    <a:pt x="438" y="173"/>
                    <a:pt x="439" y="196"/>
                    <a:pt x="439" y="227"/>
                  </a:cubicBezTo>
                  <a:cubicBezTo>
                    <a:pt x="439" y="570"/>
                    <a:pt x="439" y="570"/>
                    <a:pt x="439" y="570"/>
                  </a:cubicBezTo>
                  <a:cubicBezTo>
                    <a:pt x="373" y="588"/>
                    <a:pt x="303" y="597"/>
                    <a:pt x="229" y="597"/>
                  </a:cubicBezTo>
                  <a:cubicBezTo>
                    <a:pt x="158" y="597"/>
                    <a:pt x="103" y="586"/>
                    <a:pt x="64" y="564"/>
                  </a:cubicBezTo>
                  <a:cubicBezTo>
                    <a:pt x="22" y="540"/>
                    <a:pt x="0" y="498"/>
                    <a:pt x="0" y="438"/>
                  </a:cubicBezTo>
                  <a:cubicBezTo>
                    <a:pt x="0" y="369"/>
                    <a:pt x="25" y="318"/>
                    <a:pt x="75" y="285"/>
                  </a:cubicBezTo>
                  <a:cubicBezTo>
                    <a:pt x="112" y="261"/>
                    <a:pt x="175" y="243"/>
                    <a:pt x="263" y="233"/>
                  </a:cubicBezTo>
                  <a:cubicBezTo>
                    <a:pt x="279" y="231"/>
                    <a:pt x="306" y="228"/>
                    <a:pt x="342" y="224"/>
                  </a:cubicBezTo>
                  <a:moveTo>
                    <a:pt x="342" y="279"/>
                  </a:moveTo>
                  <a:cubicBezTo>
                    <a:pt x="283" y="285"/>
                    <a:pt x="239" y="292"/>
                    <a:pt x="208" y="300"/>
                  </a:cubicBezTo>
                  <a:cubicBezTo>
                    <a:pt x="135" y="318"/>
                    <a:pt x="99" y="361"/>
                    <a:pt x="99" y="428"/>
                  </a:cubicBezTo>
                  <a:cubicBezTo>
                    <a:pt x="99" y="465"/>
                    <a:pt x="109" y="492"/>
                    <a:pt x="131" y="509"/>
                  </a:cubicBezTo>
                  <a:cubicBezTo>
                    <a:pt x="155" y="529"/>
                    <a:pt x="192" y="539"/>
                    <a:pt x="244" y="539"/>
                  </a:cubicBezTo>
                  <a:cubicBezTo>
                    <a:pt x="279" y="539"/>
                    <a:pt x="312" y="534"/>
                    <a:pt x="342" y="525"/>
                  </a:cubicBezTo>
                  <a:lnTo>
                    <a:pt x="342" y="279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38" name="Freeform 11"/>
            <p:cNvSpPr>
              <a:spLocks noEditPoints="1"/>
            </p:cNvSpPr>
            <p:nvPr/>
          </p:nvSpPr>
          <p:spPr bwMode="gray">
            <a:xfrm>
              <a:off x="3124200" y="3094038"/>
              <a:ext cx="139700" cy="271463"/>
            </a:xfrm>
            <a:custGeom>
              <a:avLst/>
              <a:gdLst/>
              <a:ahLst/>
              <a:cxnLst>
                <a:cxn ang="0">
                  <a:pos x="96" y="557"/>
                </a:cxn>
                <a:cxn ang="0">
                  <a:pos x="96" y="852"/>
                </a:cxn>
                <a:cxn ang="0">
                  <a:pos x="0" y="852"/>
                </a:cxn>
                <a:cxn ang="0">
                  <a:pos x="0" y="23"/>
                </a:cxn>
                <a:cxn ang="0">
                  <a:pos x="195" y="0"/>
                </a:cxn>
                <a:cxn ang="0">
                  <a:pos x="396" y="89"/>
                </a:cxn>
                <a:cxn ang="0">
                  <a:pos x="444" y="298"/>
                </a:cxn>
                <a:cxn ang="0">
                  <a:pos x="383" y="519"/>
                </a:cxn>
                <a:cxn ang="0">
                  <a:pos x="214" y="597"/>
                </a:cxn>
                <a:cxn ang="0">
                  <a:pos x="134" y="582"/>
                </a:cxn>
                <a:cxn ang="0">
                  <a:pos x="96" y="557"/>
                </a:cxn>
                <a:cxn ang="0">
                  <a:pos x="96" y="490"/>
                </a:cxn>
                <a:cxn ang="0">
                  <a:pos x="204" y="539"/>
                </a:cxn>
                <a:cxn ang="0">
                  <a:pos x="313" y="464"/>
                </a:cxn>
                <a:cxn ang="0">
                  <a:pos x="345" y="296"/>
                </a:cxn>
                <a:cxn ang="0">
                  <a:pos x="302" y="110"/>
                </a:cxn>
                <a:cxn ang="0">
                  <a:pos x="180" y="59"/>
                </a:cxn>
                <a:cxn ang="0">
                  <a:pos x="96" y="66"/>
                </a:cxn>
                <a:cxn ang="0">
                  <a:pos x="96" y="490"/>
                </a:cxn>
              </a:cxnLst>
              <a:rect l="0" t="0" r="r" b="b"/>
              <a:pathLst>
                <a:path w="444" h="852">
                  <a:moveTo>
                    <a:pt x="96" y="557"/>
                  </a:moveTo>
                  <a:cubicBezTo>
                    <a:pt x="96" y="852"/>
                    <a:pt x="96" y="852"/>
                    <a:pt x="96" y="852"/>
                  </a:cubicBezTo>
                  <a:cubicBezTo>
                    <a:pt x="0" y="852"/>
                    <a:pt x="0" y="852"/>
                    <a:pt x="0" y="85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66" y="8"/>
                    <a:pt x="131" y="0"/>
                    <a:pt x="195" y="0"/>
                  </a:cubicBezTo>
                  <a:cubicBezTo>
                    <a:pt x="293" y="0"/>
                    <a:pt x="360" y="30"/>
                    <a:pt x="396" y="89"/>
                  </a:cubicBezTo>
                  <a:cubicBezTo>
                    <a:pt x="428" y="142"/>
                    <a:pt x="444" y="211"/>
                    <a:pt x="444" y="298"/>
                  </a:cubicBezTo>
                  <a:cubicBezTo>
                    <a:pt x="444" y="389"/>
                    <a:pt x="423" y="462"/>
                    <a:pt x="383" y="519"/>
                  </a:cubicBezTo>
                  <a:cubicBezTo>
                    <a:pt x="345" y="571"/>
                    <a:pt x="288" y="597"/>
                    <a:pt x="214" y="597"/>
                  </a:cubicBezTo>
                  <a:cubicBezTo>
                    <a:pt x="183" y="597"/>
                    <a:pt x="156" y="592"/>
                    <a:pt x="134" y="582"/>
                  </a:cubicBezTo>
                  <a:cubicBezTo>
                    <a:pt x="124" y="577"/>
                    <a:pt x="111" y="569"/>
                    <a:pt x="96" y="557"/>
                  </a:cubicBezTo>
                  <a:moveTo>
                    <a:pt x="96" y="490"/>
                  </a:moveTo>
                  <a:cubicBezTo>
                    <a:pt x="129" y="522"/>
                    <a:pt x="165" y="539"/>
                    <a:pt x="204" y="539"/>
                  </a:cubicBezTo>
                  <a:cubicBezTo>
                    <a:pt x="253" y="539"/>
                    <a:pt x="290" y="514"/>
                    <a:pt x="313" y="464"/>
                  </a:cubicBezTo>
                  <a:cubicBezTo>
                    <a:pt x="335" y="418"/>
                    <a:pt x="345" y="363"/>
                    <a:pt x="345" y="296"/>
                  </a:cubicBezTo>
                  <a:cubicBezTo>
                    <a:pt x="345" y="214"/>
                    <a:pt x="331" y="152"/>
                    <a:pt x="302" y="110"/>
                  </a:cubicBezTo>
                  <a:cubicBezTo>
                    <a:pt x="278" y="76"/>
                    <a:pt x="238" y="59"/>
                    <a:pt x="180" y="59"/>
                  </a:cubicBezTo>
                  <a:cubicBezTo>
                    <a:pt x="155" y="59"/>
                    <a:pt x="127" y="61"/>
                    <a:pt x="96" y="66"/>
                  </a:cubicBezTo>
                  <a:lnTo>
                    <a:pt x="96" y="49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39" name="Freeform 12"/>
            <p:cNvSpPr>
              <a:spLocks noEditPoints="1"/>
            </p:cNvSpPr>
            <p:nvPr/>
          </p:nvSpPr>
          <p:spPr bwMode="gray">
            <a:xfrm>
              <a:off x="3306763" y="3033713"/>
              <a:ext cx="38100" cy="244475"/>
            </a:xfrm>
            <a:custGeom>
              <a:avLst/>
              <a:gdLst/>
              <a:ahLst/>
              <a:cxnLst>
                <a:cxn ang="0">
                  <a:pos x="59" y="0"/>
                </a:cxn>
                <a:cxn ang="0">
                  <a:pos x="103" y="19"/>
                </a:cxn>
                <a:cxn ang="0">
                  <a:pos x="118" y="59"/>
                </a:cxn>
                <a:cxn ang="0">
                  <a:pos x="98" y="103"/>
                </a:cxn>
                <a:cxn ang="0">
                  <a:pos x="58" y="118"/>
                </a:cxn>
                <a:cxn ang="0">
                  <a:pos x="15" y="99"/>
                </a:cxn>
                <a:cxn ang="0">
                  <a:pos x="0" y="58"/>
                </a:cxn>
                <a:cxn ang="0">
                  <a:pos x="19" y="15"/>
                </a:cxn>
                <a:cxn ang="0">
                  <a:pos x="59" y="0"/>
                </a:cxn>
                <a:cxn ang="0">
                  <a:pos x="12" y="207"/>
                </a:cxn>
                <a:cxn ang="0">
                  <a:pos x="108" y="207"/>
                </a:cxn>
                <a:cxn ang="0">
                  <a:pos x="108" y="772"/>
                </a:cxn>
                <a:cxn ang="0">
                  <a:pos x="12" y="772"/>
                </a:cxn>
                <a:cxn ang="0">
                  <a:pos x="12" y="207"/>
                </a:cxn>
              </a:cxnLst>
              <a:rect l="0" t="0" r="r" b="b"/>
              <a:pathLst>
                <a:path w="118" h="772">
                  <a:moveTo>
                    <a:pt x="59" y="0"/>
                  </a:moveTo>
                  <a:cubicBezTo>
                    <a:pt x="76" y="0"/>
                    <a:pt x="91" y="6"/>
                    <a:pt x="103" y="19"/>
                  </a:cubicBezTo>
                  <a:cubicBezTo>
                    <a:pt x="113" y="31"/>
                    <a:pt x="118" y="44"/>
                    <a:pt x="118" y="59"/>
                  </a:cubicBezTo>
                  <a:cubicBezTo>
                    <a:pt x="118" y="77"/>
                    <a:pt x="111" y="91"/>
                    <a:pt x="98" y="103"/>
                  </a:cubicBezTo>
                  <a:cubicBezTo>
                    <a:pt x="87" y="113"/>
                    <a:pt x="74" y="118"/>
                    <a:pt x="58" y="118"/>
                  </a:cubicBezTo>
                  <a:cubicBezTo>
                    <a:pt x="41" y="118"/>
                    <a:pt x="26" y="112"/>
                    <a:pt x="15" y="99"/>
                  </a:cubicBezTo>
                  <a:cubicBezTo>
                    <a:pt x="5" y="88"/>
                    <a:pt x="0" y="74"/>
                    <a:pt x="0" y="58"/>
                  </a:cubicBezTo>
                  <a:cubicBezTo>
                    <a:pt x="0" y="41"/>
                    <a:pt x="6" y="27"/>
                    <a:pt x="19" y="15"/>
                  </a:cubicBezTo>
                  <a:cubicBezTo>
                    <a:pt x="30" y="5"/>
                    <a:pt x="43" y="0"/>
                    <a:pt x="59" y="0"/>
                  </a:cubicBezTo>
                  <a:moveTo>
                    <a:pt x="12" y="207"/>
                  </a:moveTo>
                  <a:cubicBezTo>
                    <a:pt x="108" y="207"/>
                    <a:pt x="108" y="207"/>
                    <a:pt x="108" y="207"/>
                  </a:cubicBezTo>
                  <a:cubicBezTo>
                    <a:pt x="108" y="772"/>
                    <a:pt x="108" y="772"/>
                    <a:pt x="108" y="772"/>
                  </a:cubicBezTo>
                  <a:cubicBezTo>
                    <a:pt x="12" y="772"/>
                    <a:pt x="12" y="772"/>
                    <a:pt x="12" y="772"/>
                  </a:cubicBezTo>
                  <a:lnTo>
                    <a:pt x="12" y="207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40" name="Freeform 13"/>
            <p:cNvSpPr>
              <a:spLocks/>
            </p:cNvSpPr>
            <p:nvPr/>
          </p:nvSpPr>
          <p:spPr bwMode="gray">
            <a:xfrm>
              <a:off x="3398838" y="3094038"/>
              <a:ext cx="136525" cy="184150"/>
            </a:xfrm>
            <a:custGeom>
              <a:avLst/>
              <a:gdLst/>
              <a:ahLst/>
              <a:cxnLst>
                <a:cxn ang="0">
                  <a:pos x="0" y="581"/>
                </a:cxn>
                <a:cxn ang="0">
                  <a:pos x="0" y="23"/>
                </a:cxn>
                <a:cxn ang="0">
                  <a:pos x="227" y="0"/>
                </a:cxn>
                <a:cxn ang="0">
                  <a:pos x="412" y="89"/>
                </a:cxn>
                <a:cxn ang="0">
                  <a:pos x="430" y="234"/>
                </a:cxn>
                <a:cxn ang="0">
                  <a:pos x="430" y="581"/>
                </a:cxn>
                <a:cxn ang="0">
                  <a:pos x="333" y="581"/>
                </a:cxn>
                <a:cxn ang="0">
                  <a:pos x="333" y="240"/>
                </a:cxn>
                <a:cxn ang="0">
                  <a:pos x="316" y="105"/>
                </a:cxn>
                <a:cxn ang="0">
                  <a:pos x="217" y="59"/>
                </a:cxn>
                <a:cxn ang="0">
                  <a:pos x="97" y="71"/>
                </a:cxn>
                <a:cxn ang="0">
                  <a:pos x="97" y="581"/>
                </a:cxn>
                <a:cxn ang="0">
                  <a:pos x="0" y="581"/>
                </a:cxn>
              </a:cxnLst>
              <a:rect l="0" t="0" r="r" b="b"/>
              <a:pathLst>
                <a:path w="430" h="581">
                  <a:moveTo>
                    <a:pt x="0" y="581"/>
                  </a:moveTo>
                  <a:cubicBezTo>
                    <a:pt x="0" y="23"/>
                    <a:pt x="0" y="23"/>
                    <a:pt x="0" y="23"/>
                  </a:cubicBezTo>
                  <a:cubicBezTo>
                    <a:pt x="90" y="8"/>
                    <a:pt x="165" y="0"/>
                    <a:pt x="227" y="0"/>
                  </a:cubicBezTo>
                  <a:cubicBezTo>
                    <a:pt x="325" y="0"/>
                    <a:pt x="387" y="30"/>
                    <a:pt x="412" y="89"/>
                  </a:cubicBezTo>
                  <a:cubicBezTo>
                    <a:pt x="424" y="117"/>
                    <a:pt x="430" y="165"/>
                    <a:pt x="430" y="234"/>
                  </a:cubicBezTo>
                  <a:cubicBezTo>
                    <a:pt x="430" y="581"/>
                    <a:pt x="430" y="581"/>
                    <a:pt x="430" y="581"/>
                  </a:cubicBezTo>
                  <a:cubicBezTo>
                    <a:pt x="333" y="581"/>
                    <a:pt x="333" y="581"/>
                    <a:pt x="333" y="581"/>
                  </a:cubicBezTo>
                  <a:cubicBezTo>
                    <a:pt x="333" y="240"/>
                    <a:pt x="333" y="240"/>
                    <a:pt x="333" y="240"/>
                  </a:cubicBezTo>
                  <a:cubicBezTo>
                    <a:pt x="333" y="173"/>
                    <a:pt x="327" y="128"/>
                    <a:pt x="316" y="105"/>
                  </a:cubicBezTo>
                  <a:cubicBezTo>
                    <a:pt x="300" y="74"/>
                    <a:pt x="267" y="59"/>
                    <a:pt x="217" y="59"/>
                  </a:cubicBezTo>
                  <a:cubicBezTo>
                    <a:pt x="178" y="59"/>
                    <a:pt x="138" y="63"/>
                    <a:pt x="97" y="71"/>
                  </a:cubicBezTo>
                  <a:cubicBezTo>
                    <a:pt x="97" y="581"/>
                    <a:pt x="97" y="581"/>
                    <a:pt x="97" y="581"/>
                  </a:cubicBezTo>
                  <a:lnTo>
                    <a:pt x="0" y="58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72" name="Freeform 14"/>
            <p:cNvSpPr>
              <a:spLocks noEditPoints="1"/>
            </p:cNvSpPr>
            <p:nvPr/>
          </p:nvSpPr>
          <p:spPr bwMode="gray">
            <a:xfrm>
              <a:off x="3578225" y="3094038"/>
              <a:ext cx="141288" cy="273050"/>
            </a:xfrm>
            <a:custGeom>
              <a:avLst/>
              <a:gdLst/>
              <a:ahLst/>
              <a:cxnLst>
                <a:cxn ang="0">
                  <a:pos x="349" y="531"/>
                </a:cxn>
                <a:cxn ang="0">
                  <a:pos x="313" y="565"/>
                </a:cxn>
                <a:cxn ang="0">
                  <a:pos x="201" y="597"/>
                </a:cxn>
                <a:cxn ang="0">
                  <a:pos x="76" y="555"/>
                </a:cxn>
                <a:cxn ang="0">
                  <a:pos x="0" y="325"/>
                </a:cxn>
                <a:cxn ang="0">
                  <a:pos x="55" y="103"/>
                </a:cxn>
                <a:cxn ang="0">
                  <a:pos x="267" y="0"/>
                </a:cxn>
                <a:cxn ang="0">
                  <a:pos x="446" y="23"/>
                </a:cxn>
                <a:cxn ang="0">
                  <a:pos x="446" y="471"/>
                </a:cxn>
                <a:cxn ang="0">
                  <a:pos x="435" y="661"/>
                </a:cxn>
                <a:cxn ang="0">
                  <a:pos x="330" y="824"/>
                </a:cxn>
                <a:cxn ang="0">
                  <a:pos x="149" y="861"/>
                </a:cxn>
                <a:cxn ang="0">
                  <a:pos x="77" y="856"/>
                </a:cxn>
                <a:cxn ang="0">
                  <a:pos x="77" y="798"/>
                </a:cxn>
                <a:cxn ang="0">
                  <a:pos x="149" y="802"/>
                </a:cxn>
                <a:cxn ang="0">
                  <a:pos x="267" y="781"/>
                </a:cxn>
                <a:cxn ang="0">
                  <a:pos x="340" y="673"/>
                </a:cxn>
                <a:cxn ang="0">
                  <a:pos x="349" y="562"/>
                </a:cxn>
                <a:cxn ang="0">
                  <a:pos x="349" y="531"/>
                </a:cxn>
                <a:cxn ang="0">
                  <a:pos x="349" y="64"/>
                </a:cxn>
                <a:cxn ang="0">
                  <a:pos x="276" y="59"/>
                </a:cxn>
                <a:cxn ang="0">
                  <a:pos x="181" y="83"/>
                </a:cxn>
                <a:cxn ang="0">
                  <a:pos x="119" y="183"/>
                </a:cxn>
                <a:cxn ang="0">
                  <a:pos x="99" y="329"/>
                </a:cxn>
                <a:cxn ang="0">
                  <a:pos x="136" y="497"/>
                </a:cxn>
                <a:cxn ang="0">
                  <a:pos x="214" y="539"/>
                </a:cxn>
                <a:cxn ang="0">
                  <a:pos x="291" y="513"/>
                </a:cxn>
                <a:cxn ang="0">
                  <a:pos x="341" y="444"/>
                </a:cxn>
                <a:cxn ang="0">
                  <a:pos x="349" y="379"/>
                </a:cxn>
                <a:cxn ang="0">
                  <a:pos x="349" y="64"/>
                </a:cxn>
              </a:cxnLst>
              <a:rect l="0" t="0" r="r" b="b"/>
              <a:pathLst>
                <a:path w="446" h="861">
                  <a:moveTo>
                    <a:pt x="349" y="531"/>
                  </a:moveTo>
                  <a:cubicBezTo>
                    <a:pt x="334" y="547"/>
                    <a:pt x="322" y="558"/>
                    <a:pt x="313" y="565"/>
                  </a:cubicBezTo>
                  <a:cubicBezTo>
                    <a:pt x="283" y="586"/>
                    <a:pt x="246" y="597"/>
                    <a:pt x="201" y="597"/>
                  </a:cubicBezTo>
                  <a:cubicBezTo>
                    <a:pt x="150" y="597"/>
                    <a:pt x="109" y="583"/>
                    <a:pt x="76" y="555"/>
                  </a:cubicBezTo>
                  <a:cubicBezTo>
                    <a:pt x="25" y="513"/>
                    <a:pt x="0" y="436"/>
                    <a:pt x="0" y="325"/>
                  </a:cubicBezTo>
                  <a:cubicBezTo>
                    <a:pt x="0" y="235"/>
                    <a:pt x="18" y="162"/>
                    <a:pt x="55" y="103"/>
                  </a:cubicBezTo>
                  <a:cubicBezTo>
                    <a:pt x="99" y="35"/>
                    <a:pt x="169" y="0"/>
                    <a:pt x="267" y="0"/>
                  </a:cubicBezTo>
                  <a:cubicBezTo>
                    <a:pt x="324" y="0"/>
                    <a:pt x="384" y="8"/>
                    <a:pt x="446" y="23"/>
                  </a:cubicBezTo>
                  <a:cubicBezTo>
                    <a:pt x="446" y="471"/>
                    <a:pt x="446" y="471"/>
                    <a:pt x="446" y="471"/>
                  </a:cubicBezTo>
                  <a:cubicBezTo>
                    <a:pt x="446" y="554"/>
                    <a:pt x="442" y="617"/>
                    <a:pt x="435" y="661"/>
                  </a:cubicBezTo>
                  <a:cubicBezTo>
                    <a:pt x="422" y="740"/>
                    <a:pt x="387" y="794"/>
                    <a:pt x="330" y="824"/>
                  </a:cubicBezTo>
                  <a:cubicBezTo>
                    <a:pt x="284" y="849"/>
                    <a:pt x="224" y="861"/>
                    <a:pt x="149" y="861"/>
                  </a:cubicBezTo>
                  <a:cubicBezTo>
                    <a:pt x="129" y="861"/>
                    <a:pt x="104" y="859"/>
                    <a:pt x="77" y="856"/>
                  </a:cubicBezTo>
                  <a:cubicBezTo>
                    <a:pt x="77" y="798"/>
                    <a:pt x="77" y="798"/>
                    <a:pt x="77" y="798"/>
                  </a:cubicBezTo>
                  <a:cubicBezTo>
                    <a:pt x="102" y="801"/>
                    <a:pt x="126" y="802"/>
                    <a:pt x="149" y="802"/>
                  </a:cubicBezTo>
                  <a:cubicBezTo>
                    <a:pt x="202" y="802"/>
                    <a:pt x="241" y="796"/>
                    <a:pt x="267" y="781"/>
                  </a:cubicBezTo>
                  <a:cubicBezTo>
                    <a:pt x="305" y="761"/>
                    <a:pt x="330" y="725"/>
                    <a:pt x="340" y="673"/>
                  </a:cubicBezTo>
                  <a:cubicBezTo>
                    <a:pt x="346" y="643"/>
                    <a:pt x="349" y="606"/>
                    <a:pt x="349" y="562"/>
                  </a:cubicBezTo>
                  <a:lnTo>
                    <a:pt x="349" y="531"/>
                  </a:lnTo>
                  <a:close/>
                  <a:moveTo>
                    <a:pt x="349" y="64"/>
                  </a:moveTo>
                  <a:cubicBezTo>
                    <a:pt x="322" y="61"/>
                    <a:pt x="298" y="59"/>
                    <a:pt x="276" y="59"/>
                  </a:cubicBezTo>
                  <a:cubicBezTo>
                    <a:pt x="236" y="59"/>
                    <a:pt x="204" y="67"/>
                    <a:pt x="181" y="83"/>
                  </a:cubicBezTo>
                  <a:cubicBezTo>
                    <a:pt x="155" y="102"/>
                    <a:pt x="134" y="136"/>
                    <a:pt x="119" y="183"/>
                  </a:cubicBezTo>
                  <a:cubicBezTo>
                    <a:pt x="106" y="225"/>
                    <a:pt x="99" y="274"/>
                    <a:pt x="99" y="329"/>
                  </a:cubicBezTo>
                  <a:cubicBezTo>
                    <a:pt x="99" y="406"/>
                    <a:pt x="111" y="462"/>
                    <a:pt x="136" y="497"/>
                  </a:cubicBezTo>
                  <a:cubicBezTo>
                    <a:pt x="156" y="525"/>
                    <a:pt x="182" y="539"/>
                    <a:pt x="214" y="539"/>
                  </a:cubicBezTo>
                  <a:cubicBezTo>
                    <a:pt x="242" y="539"/>
                    <a:pt x="267" y="530"/>
                    <a:pt x="291" y="513"/>
                  </a:cubicBezTo>
                  <a:cubicBezTo>
                    <a:pt x="314" y="495"/>
                    <a:pt x="331" y="472"/>
                    <a:pt x="341" y="444"/>
                  </a:cubicBezTo>
                  <a:cubicBezTo>
                    <a:pt x="346" y="429"/>
                    <a:pt x="349" y="408"/>
                    <a:pt x="349" y="379"/>
                  </a:cubicBezTo>
                  <a:lnTo>
                    <a:pt x="349" y="64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73" name="Freeform 15"/>
            <p:cNvSpPr>
              <a:spLocks/>
            </p:cNvSpPr>
            <p:nvPr/>
          </p:nvSpPr>
          <p:spPr bwMode="gray">
            <a:xfrm>
              <a:off x="3859213" y="3051175"/>
              <a:ext cx="79375" cy="2270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7" y="0"/>
                </a:cxn>
                <a:cxn ang="0">
                  <a:pos x="97" y="153"/>
                </a:cxn>
                <a:cxn ang="0">
                  <a:pos x="249" y="153"/>
                </a:cxn>
                <a:cxn ang="0">
                  <a:pos x="249" y="215"/>
                </a:cxn>
                <a:cxn ang="0">
                  <a:pos x="97" y="215"/>
                </a:cxn>
                <a:cxn ang="0">
                  <a:pos x="97" y="515"/>
                </a:cxn>
                <a:cxn ang="0">
                  <a:pos x="122" y="630"/>
                </a:cxn>
                <a:cxn ang="0">
                  <a:pos x="176" y="655"/>
                </a:cxn>
                <a:cxn ang="0">
                  <a:pos x="217" y="657"/>
                </a:cxn>
                <a:cxn ang="0">
                  <a:pos x="249" y="657"/>
                </a:cxn>
                <a:cxn ang="0">
                  <a:pos x="249" y="718"/>
                </a:cxn>
                <a:cxn ang="0">
                  <a:pos x="197" y="718"/>
                </a:cxn>
                <a:cxn ang="0">
                  <a:pos x="99" y="709"/>
                </a:cxn>
                <a:cxn ang="0">
                  <a:pos x="9" y="613"/>
                </a:cxn>
                <a:cxn ang="0">
                  <a:pos x="0" y="501"/>
                </a:cxn>
                <a:cxn ang="0">
                  <a:pos x="0" y="0"/>
                </a:cxn>
              </a:cxnLst>
              <a:rect l="0" t="0" r="r" b="b"/>
              <a:pathLst>
                <a:path w="249" h="718">
                  <a:moveTo>
                    <a:pt x="0" y="0"/>
                  </a:moveTo>
                  <a:cubicBezTo>
                    <a:pt x="97" y="0"/>
                    <a:pt x="97" y="0"/>
                    <a:pt x="97" y="0"/>
                  </a:cubicBezTo>
                  <a:cubicBezTo>
                    <a:pt x="97" y="153"/>
                    <a:pt x="97" y="153"/>
                    <a:pt x="97" y="153"/>
                  </a:cubicBezTo>
                  <a:cubicBezTo>
                    <a:pt x="249" y="153"/>
                    <a:pt x="249" y="153"/>
                    <a:pt x="249" y="153"/>
                  </a:cubicBezTo>
                  <a:cubicBezTo>
                    <a:pt x="249" y="215"/>
                    <a:pt x="249" y="215"/>
                    <a:pt x="249" y="215"/>
                  </a:cubicBezTo>
                  <a:cubicBezTo>
                    <a:pt x="97" y="215"/>
                    <a:pt x="97" y="215"/>
                    <a:pt x="97" y="215"/>
                  </a:cubicBezTo>
                  <a:cubicBezTo>
                    <a:pt x="97" y="515"/>
                    <a:pt x="97" y="515"/>
                    <a:pt x="97" y="515"/>
                  </a:cubicBezTo>
                  <a:cubicBezTo>
                    <a:pt x="97" y="572"/>
                    <a:pt x="105" y="610"/>
                    <a:pt x="122" y="630"/>
                  </a:cubicBezTo>
                  <a:cubicBezTo>
                    <a:pt x="134" y="644"/>
                    <a:pt x="152" y="652"/>
                    <a:pt x="176" y="655"/>
                  </a:cubicBezTo>
                  <a:cubicBezTo>
                    <a:pt x="184" y="656"/>
                    <a:pt x="197" y="657"/>
                    <a:pt x="217" y="657"/>
                  </a:cubicBezTo>
                  <a:cubicBezTo>
                    <a:pt x="249" y="657"/>
                    <a:pt x="249" y="657"/>
                    <a:pt x="249" y="657"/>
                  </a:cubicBezTo>
                  <a:cubicBezTo>
                    <a:pt x="249" y="718"/>
                    <a:pt x="249" y="718"/>
                    <a:pt x="249" y="718"/>
                  </a:cubicBezTo>
                  <a:cubicBezTo>
                    <a:pt x="197" y="718"/>
                    <a:pt x="197" y="718"/>
                    <a:pt x="197" y="718"/>
                  </a:cubicBezTo>
                  <a:cubicBezTo>
                    <a:pt x="155" y="718"/>
                    <a:pt x="123" y="715"/>
                    <a:pt x="99" y="709"/>
                  </a:cubicBezTo>
                  <a:cubicBezTo>
                    <a:pt x="50" y="695"/>
                    <a:pt x="20" y="663"/>
                    <a:pt x="9" y="613"/>
                  </a:cubicBezTo>
                  <a:cubicBezTo>
                    <a:pt x="3" y="586"/>
                    <a:pt x="0" y="549"/>
                    <a:pt x="0" y="50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74" name="Freeform 16"/>
            <p:cNvSpPr>
              <a:spLocks noEditPoints="1"/>
            </p:cNvSpPr>
            <p:nvPr/>
          </p:nvSpPr>
          <p:spPr bwMode="gray">
            <a:xfrm>
              <a:off x="3971925" y="3094038"/>
              <a:ext cx="150813" cy="190500"/>
            </a:xfrm>
            <a:custGeom>
              <a:avLst/>
              <a:gdLst/>
              <a:ahLst/>
              <a:cxnLst>
                <a:cxn ang="0">
                  <a:pos x="238" y="0"/>
                </a:cxn>
                <a:cxn ang="0">
                  <a:pos x="419" y="81"/>
                </a:cxn>
                <a:cxn ang="0">
                  <a:pos x="476" y="299"/>
                </a:cxn>
                <a:cxn ang="0">
                  <a:pos x="419" y="516"/>
                </a:cxn>
                <a:cxn ang="0">
                  <a:pos x="239" y="597"/>
                </a:cxn>
                <a:cxn ang="0">
                  <a:pos x="0" y="295"/>
                </a:cxn>
                <a:cxn ang="0">
                  <a:pos x="57" y="81"/>
                </a:cxn>
                <a:cxn ang="0">
                  <a:pos x="238" y="0"/>
                </a:cxn>
                <a:cxn ang="0">
                  <a:pos x="238" y="59"/>
                </a:cxn>
                <a:cxn ang="0">
                  <a:pos x="125" y="132"/>
                </a:cxn>
                <a:cxn ang="0">
                  <a:pos x="99" y="296"/>
                </a:cxn>
                <a:cxn ang="0">
                  <a:pos x="125" y="465"/>
                </a:cxn>
                <a:cxn ang="0">
                  <a:pos x="238" y="539"/>
                </a:cxn>
                <a:cxn ang="0">
                  <a:pos x="351" y="465"/>
                </a:cxn>
                <a:cxn ang="0">
                  <a:pos x="377" y="299"/>
                </a:cxn>
                <a:cxn ang="0">
                  <a:pos x="351" y="132"/>
                </a:cxn>
                <a:cxn ang="0">
                  <a:pos x="238" y="59"/>
                </a:cxn>
              </a:cxnLst>
              <a:rect l="0" t="0" r="r" b="b"/>
              <a:pathLst>
                <a:path w="476" h="597">
                  <a:moveTo>
                    <a:pt x="238" y="0"/>
                  </a:moveTo>
                  <a:cubicBezTo>
                    <a:pt x="319" y="0"/>
                    <a:pt x="379" y="27"/>
                    <a:pt x="419" y="81"/>
                  </a:cubicBezTo>
                  <a:cubicBezTo>
                    <a:pt x="457" y="133"/>
                    <a:pt x="476" y="205"/>
                    <a:pt x="476" y="299"/>
                  </a:cubicBezTo>
                  <a:cubicBezTo>
                    <a:pt x="476" y="391"/>
                    <a:pt x="457" y="464"/>
                    <a:pt x="419" y="516"/>
                  </a:cubicBezTo>
                  <a:cubicBezTo>
                    <a:pt x="380" y="570"/>
                    <a:pt x="320" y="597"/>
                    <a:pt x="239" y="597"/>
                  </a:cubicBezTo>
                  <a:cubicBezTo>
                    <a:pt x="79" y="597"/>
                    <a:pt x="0" y="496"/>
                    <a:pt x="0" y="295"/>
                  </a:cubicBezTo>
                  <a:cubicBezTo>
                    <a:pt x="0" y="204"/>
                    <a:pt x="19" y="133"/>
                    <a:pt x="57" y="81"/>
                  </a:cubicBezTo>
                  <a:cubicBezTo>
                    <a:pt x="96" y="27"/>
                    <a:pt x="157" y="0"/>
                    <a:pt x="238" y="0"/>
                  </a:cubicBezTo>
                  <a:moveTo>
                    <a:pt x="238" y="59"/>
                  </a:moveTo>
                  <a:cubicBezTo>
                    <a:pt x="183" y="59"/>
                    <a:pt x="145" y="83"/>
                    <a:pt x="125" y="132"/>
                  </a:cubicBezTo>
                  <a:cubicBezTo>
                    <a:pt x="107" y="173"/>
                    <a:pt x="99" y="227"/>
                    <a:pt x="99" y="296"/>
                  </a:cubicBezTo>
                  <a:cubicBezTo>
                    <a:pt x="99" y="368"/>
                    <a:pt x="107" y="424"/>
                    <a:pt x="125" y="465"/>
                  </a:cubicBezTo>
                  <a:cubicBezTo>
                    <a:pt x="145" y="514"/>
                    <a:pt x="183" y="539"/>
                    <a:pt x="238" y="539"/>
                  </a:cubicBezTo>
                  <a:cubicBezTo>
                    <a:pt x="293" y="539"/>
                    <a:pt x="330" y="514"/>
                    <a:pt x="351" y="465"/>
                  </a:cubicBezTo>
                  <a:cubicBezTo>
                    <a:pt x="368" y="424"/>
                    <a:pt x="377" y="369"/>
                    <a:pt x="377" y="299"/>
                  </a:cubicBezTo>
                  <a:cubicBezTo>
                    <a:pt x="377" y="227"/>
                    <a:pt x="368" y="172"/>
                    <a:pt x="351" y="132"/>
                  </a:cubicBezTo>
                  <a:cubicBezTo>
                    <a:pt x="330" y="83"/>
                    <a:pt x="292" y="59"/>
                    <a:pt x="238" y="59"/>
                  </a:cubicBezTo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75" name="Freeform 17"/>
            <p:cNvSpPr>
              <a:spLocks/>
            </p:cNvSpPr>
            <p:nvPr/>
          </p:nvSpPr>
          <p:spPr bwMode="gray">
            <a:xfrm>
              <a:off x="4167188" y="3094038"/>
              <a:ext cx="231775" cy="184150"/>
            </a:xfrm>
            <a:custGeom>
              <a:avLst/>
              <a:gdLst/>
              <a:ahLst/>
              <a:cxnLst>
                <a:cxn ang="0">
                  <a:pos x="0" y="581"/>
                </a:cxn>
                <a:cxn ang="0">
                  <a:pos x="0" y="23"/>
                </a:cxn>
                <a:cxn ang="0">
                  <a:pos x="209" y="0"/>
                </a:cxn>
                <a:cxn ang="0">
                  <a:pos x="360" y="37"/>
                </a:cxn>
                <a:cxn ang="0">
                  <a:pos x="541" y="0"/>
                </a:cxn>
                <a:cxn ang="0">
                  <a:pos x="714" y="90"/>
                </a:cxn>
                <a:cxn ang="0">
                  <a:pos x="730" y="234"/>
                </a:cxn>
                <a:cxn ang="0">
                  <a:pos x="730" y="581"/>
                </a:cxn>
                <a:cxn ang="0">
                  <a:pos x="634" y="581"/>
                </a:cxn>
                <a:cxn ang="0">
                  <a:pos x="634" y="240"/>
                </a:cxn>
                <a:cxn ang="0">
                  <a:pos x="618" y="106"/>
                </a:cxn>
                <a:cxn ang="0">
                  <a:pos x="528" y="59"/>
                </a:cxn>
                <a:cxn ang="0">
                  <a:pos x="413" y="85"/>
                </a:cxn>
                <a:cxn ang="0">
                  <a:pos x="413" y="581"/>
                </a:cxn>
                <a:cxn ang="0">
                  <a:pos x="317" y="581"/>
                </a:cxn>
                <a:cxn ang="0">
                  <a:pos x="317" y="236"/>
                </a:cxn>
                <a:cxn ang="0">
                  <a:pos x="301" y="106"/>
                </a:cxn>
                <a:cxn ang="0">
                  <a:pos x="209" y="59"/>
                </a:cxn>
                <a:cxn ang="0">
                  <a:pos x="96" y="71"/>
                </a:cxn>
                <a:cxn ang="0">
                  <a:pos x="96" y="581"/>
                </a:cxn>
                <a:cxn ang="0">
                  <a:pos x="0" y="581"/>
                </a:cxn>
              </a:cxnLst>
              <a:rect l="0" t="0" r="r" b="b"/>
              <a:pathLst>
                <a:path w="730" h="581">
                  <a:moveTo>
                    <a:pt x="0" y="581"/>
                  </a:moveTo>
                  <a:cubicBezTo>
                    <a:pt x="0" y="23"/>
                    <a:pt x="0" y="23"/>
                    <a:pt x="0" y="23"/>
                  </a:cubicBezTo>
                  <a:cubicBezTo>
                    <a:pt x="88" y="8"/>
                    <a:pt x="158" y="0"/>
                    <a:pt x="209" y="0"/>
                  </a:cubicBezTo>
                  <a:cubicBezTo>
                    <a:pt x="276" y="0"/>
                    <a:pt x="326" y="12"/>
                    <a:pt x="360" y="37"/>
                  </a:cubicBezTo>
                  <a:cubicBezTo>
                    <a:pt x="421" y="12"/>
                    <a:pt x="481" y="0"/>
                    <a:pt x="541" y="0"/>
                  </a:cubicBezTo>
                  <a:cubicBezTo>
                    <a:pt x="632" y="0"/>
                    <a:pt x="690" y="30"/>
                    <a:pt x="714" y="90"/>
                  </a:cubicBezTo>
                  <a:cubicBezTo>
                    <a:pt x="725" y="118"/>
                    <a:pt x="730" y="166"/>
                    <a:pt x="730" y="234"/>
                  </a:cubicBezTo>
                  <a:cubicBezTo>
                    <a:pt x="730" y="581"/>
                    <a:pt x="730" y="581"/>
                    <a:pt x="730" y="581"/>
                  </a:cubicBezTo>
                  <a:cubicBezTo>
                    <a:pt x="634" y="581"/>
                    <a:pt x="634" y="581"/>
                    <a:pt x="634" y="581"/>
                  </a:cubicBezTo>
                  <a:cubicBezTo>
                    <a:pt x="634" y="240"/>
                    <a:pt x="634" y="240"/>
                    <a:pt x="634" y="240"/>
                  </a:cubicBezTo>
                  <a:cubicBezTo>
                    <a:pt x="634" y="174"/>
                    <a:pt x="628" y="129"/>
                    <a:pt x="618" y="106"/>
                  </a:cubicBezTo>
                  <a:cubicBezTo>
                    <a:pt x="604" y="75"/>
                    <a:pt x="574" y="59"/>
                    <a:pt x="528" y="59"/>
                  </a:cubicBezTo>
                  <a:cubicBezTo>
                    <a:pt x="491" y="59"/>
                    <a:pt x="452" y="68"/>
                    <a:pt x="413" y="85"/>
                  </a:cubicBezTo>
                  <a:cubicBezTo>
                    <a:pt x="413" y="581"/>
                    <a:pt x="413" y="581"/>
                    <a:pt x="413" y="581"/>
                  </a:cubicBezTo>
                  <a:cubicBezTo>
                    <a:pt x="317" y="581"/>
                    <a:pt x="317" y="581"/>
                    <a:pt x="317" y="581"/>
                  </a:cubicBezTo>
                  <a:cubicBezTo>
                    <a:pt x="317" y="236"/>
                    <a:pt x="317" y="236"/>
                    <a:pt x="317" y="236"/>
                  </a:cubicBezTo>
                  <a:cubicBezTo>
                    <a:pt x="317" y="172"/>
                    <a:pt x="312" y="129"/>
                    <a:pt x="301" y="106"/>
                  </a:cubicBezTo>
                  <a:cubicBezTo>
                    <a:pt x="286" y="75"/>
                    <a:pt x="255" y="59"/>
                    <a:pt x="209" y="59"/>
                  </a:cubicBezTo>
                  <a:cubicBezTo>
                    <a:pt x="173" y="59"/>
                    <a:pt x="135" y="63"/>
                    <a:pt x="96" y="71"/>
                  </a:cubicBezTo>
                  <a:cubicBezTo>
                    <a:pt x="96" y="581"/>
                    <a:pt x="96" y="581"/>
                    <a:pt x="96" y="581"/>
                  </a:cubicBezTo>
                  <a:lnTo>
                    <a:pt x="0" y="58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76" name="Freeform 18"/>
            <p:cNvSpPr>
              <a:spLocks noEditPoints="1"/>
            </p:cNvSpPr>
            <p:nvPr/>
          </p:nvSpPr>
          <p:spPr bwMode="gray">
            <a:xfrm>
              <a:off x="4440238" y="3094038"/>
              <a:ext cx="150813" cy="190500"/>
            </a:xfrm>
            <a:custGeom>
              <a:avLst/>
              <a:gdLst/>
              <a:ahLst/>
              <a:cxnLst>
                <a:cxn ang="0">
                  <a:pos x="238" y="0"/>
                </a:cxn>
                <a:cxn ang="0">
                  <a:pos x="418" y="81"/>
                </a:cxn>
                <a:cxn ang="0">
                  <a:pos x="475" y="299"/>
                </a:cxn>
                <a:cxn ang="0">
                  <a:pos x="418" y="516"/>
                </a:cxn>
                <a:cxn ang="0">
                  <a:pos x="238" y="597"/>
                </a:cxn>
                <a:cxn ang="0">
                  <a:pos x="0" y="295"/>
                </a:cxn>
                <a:cxn ang="0">
                  <a:pos x="57" y="81"/>
                </a:cxn>
                <a:cxn ang="0">
                  <a:pos x="238" y="0"/>
                </a:cxn>
                <a:cxn ang="0">
                  <a:pos x="238" y="59"/>
                </a:cxn>
                <a:cxn ang="0">
                  <a:pos x="124" y="132"/>
                </a:cxn>
                <a:cxn ang="0">
                  <a:pos x="98" y="296"/>
                </a:cxn>
                <a:cxn ang="0">
                  <a:pos x="124" y="465"/>
                </a:cxn>
                <a:cxn ang="0">
                  <a:pos x="238" y="539"/>
                </a:cxn>
                <a:cxn ang="0">
                  <a:pos x="350" y="465"/>
                </a:cxn>
                <a:cxn ang="0">
                  <a:pos x="376" y="299"/>
                </a:cxn>
                <a:cxn ang="0">
                  <a:pos x="350" y="132"/>
                </a:cxn>
                <a:cxn ang="0">
                  <a:pos x="238" y="59"/>
                </a:cxn>
              </a:cxnLst>
              <a:rect l="0" t="0" r="r" b="b"/>
              <a:pathLst>
                <a:path w="475" h="597">
                  <a:moveTo>
                    <a:pt x="238" y="0"/>
                  </a:moveTo>
                  <a:cubicBezTo>
                    <a:pt x="319" y="0"/>
                    <a:pt x="379" y="27"/>
                    <a:pt x="418" y="81"/>
                  </a:cubicBezTo>
                  <a:cubicBezTo>
                    <a:pt x="456" y="133"/>
                    <a:pt x="475" y="205"/>
                    <a:pt x="475" y="299"/>
                  </a:cubicBezTo>
                  <a:cubicBezTo>
                    <a:pt x="475" y="391"/>
                    <a:pt x="456" y="464"/>
                    <a:pt x="418" y="516"/>
                  </a:cubicBezTo>
                  <a:cubicBezTo>
                    <a:pt x="379" y="570"/>
                    <a:pt x="319" y="597"/>
                    <a:pt x="238" y="597"/>
                  </a:cubicBezTo>
                  <a:cubicBezTo>
                    <a:pt x="79" y="597"/>
                    <a:pt x="0" y="496"/>
                    <a:pt x="0" y="295"/>
                  </a:cubicBezTo>
                  <a:cubicBezTo>
                    <a:pt x="0" y="204"/>
                    <a:pt x="19" y="133"/>
                    <a:pt x="57" y="81"/>
                  </a:cubicBezTo>
                  <a:cubicBezTo>
                    <a:pt x="96" y="27"/>
                    <a:pt x="156" y="0"/>
                    <a:pt x="238" y="0"/>
                  </a:cubicBezTo>
                  <a:moveTo>
                    <a:pt x="238" y="59"/>
                  </a:moveTo>
                  <a:cubicBezTo>
                    <a:pt x="183" y="59"/>
                    <a:pt x="145" y="83"/>
                    <a:pt x="124" y="132"/>
                  </a:cubicBezTo>
                  <a:cubicBezTo>
                    <a:pt x="107" y="173"/>
                    <a:pt x="98" y="227"/>
                    <a:pt x="98" y="296"/>
                  </a:cubicBezTo>
                  <a:cubicBezTo>
                    <a:pt x="98" y="368"/>
                    <a:pt x="107" y="424"/>
                    <a:pt x="124" y="465"/>
                  </a:cubicBezTo>
                  <a:cubicBezTo>
                    <a:pt x="145" y="514"/>
                    <a:pt x="183" y="539"/>
                    <a:pt x="238" y="539"/>
                  </a:cubicBezTo>
                  <a:cubicBezTo>
                    <a:pt x="292" y="539"/>
                    <a:pt x="330" y="514"/>
                    <a:pt x="350" y="465"/>
                  </a:cubicBezTo>
                  <a:cubicBezTo>
                    <a:pt x="368" y="424"/>
                    <a:pt x="376" y="369"/>
                    <a:pt x="376" y="299"/>
                  </a:cubicBezTo>
                  <a:cubicBezTo>
                    <a:pt x="376" y="227"/>
                    <a:pt x="368" y="172"/>
                    <a:pt x="350" y="132"/>
                  </a:cubicBezTo>
                  <a:cubicBezTo>
                    <a:pt x="329" y="83"/>
                    <a:pt x="292" y="59"/>
                    <a:pt x="238" y="59"/>
                  </a:cubicBezTo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77" name="Freeform 19"/>
            <p:cNvSpPr>
              <a:spLocks/>
            </p:cNvSpPr>
            <p:nvPr/>
          </p:nvSpPr>
          <p:spPr bwMode="gray">
            <a:xfrm>
              <a:off x="4638675" y="3094038"/>
              <a:ext cx="77788" cy="184150"/>
            </a:xfrm>
            <a:custGeom>
              <a:avLst/>
              <a:gdLst/>
              <a:ahLst/>
              <a:cxnLst>
                <a:cxn ang="0">
                  <a:pos x="0" y="581"/>
                </a:cxn>
                <a:cxn ang="0">
                  <a:pos x="0" y="25"/>
                </a:cxn>
                <a:cxn ang="0">
                  <a:pos x="244" y="0"/>
                </a:cxn>
                <a:cxn ang="0">
                  <a:pos x="244" y="61"/>
                </a:cxn>
                <a:cxn ang="0">
                  <a:pos x="97" y="71"/>
                </a:cxn>
                <a:cxn ang="0">
                  <a:pos x="97" y="581"/>
                </a:cxn>
                <a:cxn ang="0">
                  <a:pos x="0" y="581"/>
                </a:cxn>
              </a:cxnLst>
              <a:rect l="0" t="0" r="r" b="b"/>
              <a:pathLst>
                <a:path w="244" h="581">
                  <a:moveTo>
                    <a:pt x="0" y="581"/>
                  </a:moveTo>
                  <a:cubicBezTo>
                    <a:pt x="0" y="25"/>
                    <a:pt x="0" y="25"/>
                    <a:pt x="0" y="25"/>
                  </a:cubicBezTo>
                  <a:cubicBezTo>
                    <a:pt x="74" y="9"/>
                    <a:pt x="155" y="1"/>
                    <a:pt x="244" y="0"/>
                  </a:cubicBezTo>
                  <a:cubicBezTo>
                    <a:pt x="244" y="61"/>
                    <a:pt x="244" y="61"/>
                    <a:pt x="244" y="61"/>
                  </a:cubicBezTo>
                  <a:cubicBezTo>
                    <a:pt x="190" y="61"/>
                    <a:pt x="141" y="65"/>
                    <a:pt x="97" y="71"/>
                  </a:cubicBezTo>
                  <a:cubicBezTo>
                    <a:pt x="97" y="581"/>
                    <a:pt x="97" y="581"/>
                    <a:pt x="97" y="581"/>
                  </a:cubicBezTo>
                  <a:lnTo>
                    <a:pt x="0" y="58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78" name="Freeform 20"/>
            <p:cNvSpPr>
              <a:spLocks/>
            </p:cNvSpPr>
            <p:nvPr/>
          </p:nvSpPr>
          <p:spPr bwMode="gray">
            <a:xfrm>
              <a:off x="4749800" y="3094038"/>
              <a:ext cx="77788" cy="184150"/>
            </a:xfrm>
            <a:custGeom>
              <a:avLst/>
              <a:gdLst/>
              <a:ahLst/>
              <a:cxnLst>
                <a:cxn ang="0">
                  <a:pos x="0" y="581"/>
                </a:cxn>
                <a:cxn ang="0">
                  <a:pos x="0" y="25"/>
                </a:cxn>
                <a:cxn ang="0">
                  <a:pos x="244" y="0"/>
                </a:cxn>
                <a:cxn ang="0">
                  <a:pos x="244" y="61"/>
                </a:cxn>
                <a:cxn ang="0">
                  <a:pos x="97" y="71"/>
                </a:cxn>
                <a:cxn ang="0">
                  <a:pos x="97" y="581"/>
                </a:cxn>
                <a:cxn ang="0">
                  <a:pos x="0" y="581"/>
                </a:cxn>
              </a:cxnLst>
              <a:rect l="0" t="0" r="r" b="b"/>
              <a:pathLst>
                <a:path w="244" h="581">
                  <a:moveTo>
                    <a:pt x="0" y="581"/>
                  </a:moveTo>
                  <a:cubicBezTo>
                    <a:pt x="0" y="25"/>
                    <a:pt x="0" y="25"/>
                    <a:pt x="0" y="25"/>
                  </a:cubicBezTo>
                  <a:cubicBezTo>
                    <a:pt x="74" y="9"/>
                    <a:pt x="155" y="1"/>
                    <a:pt x="244" y="0"/>
                  </a:cubicBezTo>
                  <a:cubicBezTo>
                    <a:pt x="244" y="61"/>
                    <a:pt x="244" y="61"/>
                    <a:pt x="244" y="61"/>
                  </a:cubicBezTo>
                  <a:cubicBezTo>
                    <a:pt x="190" y="61"/>
                    <a:pt x="140" y="65"/>
                    <a:pt x="97" y="71"/>
                  </a:cubicBezTo>
                  <a:cubicBezTo>
                    <a:pt x="97" y="581"/>
                    <a:pt x="97" y="581"/>
                    <a:pt x="97" y="581"/>
                  </a:cubicBezTo>
                  <a:lnTo>
                    <a:pt x="0" y="58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79" name="Freeform 21"/>
            <p:cNvSpPr>
              <a:spLocks noEditPoints="1"/>
            </p:cNvSpPr>
            <p:nvPr/>
          </p:nvSpPr>
          <p:spPr bwMode="gray">
            <a:xfrm>
              <a:off x="4848225" y="3094038"/>
              <a:ext cx="150813" cy="190500"/>
            </a:xfrm>
            <a:custGeom>
              <a:avLst/>
              <a:gdLst/>
              <a:ahLst/>
              <a:cxnLst>
                <a:cxn ang="0">
                  <a:pos x="238" y="0"/>
                </a:cxn>
                <a:cxn ang="0">
                  <a:pos x="419" y="81"/>
                </a:cxn>
                <a:cxn ang="0">
                  <a:pos x="476" y="299"/>
                </a:cxn>
                <a:cxn ang="0">
                  <a:pos x="419" y="516"/>
                </a:cxn>
                <a:cxn ang="0">
                  <a:pos x="239" y="597"/>
                </a:cxn>
                <a:cxn ang="0">
                  <a:pos x="0" y="295"/>
                </a:cxn>
                <a:cxn ang="0">
                  <a:pos x="57" y="81"/>
                </a:cxn>
                <a:cxn ang="0">
                  <a:pos x="238" y="0"/>
                </a:cxn>
                <a:cxn ang="0">
                  <a:pos x="238" y="59"/>
                </a:cxn>
                <a:cxn ang="0">
                  <a:pos x="125" y="132"/>
                </a:cxn>
                <a:cxn ang="0">
                  <a:pos x="99" y="296"/>
                </a:cxn>
                <a:cxn ang="0">
                  <a:pos x="125" y="465"/>
                </a:cxn>
                <a:cxn ang="0">
                  <a:pos x="238" y="539"/>
                </a:cxn>
                <a:cxn ang="0">
                  <a:pos x="351" y="465"/>
                </a:cxn>
                <a:cxn ang="0">
                  <a:pos x="377" y="299"/>
                </a:cxn>
                <a:cxn ang="0">
                  <a:pos x="351" y="132"/>
                </a:cxn>
                <a:cxn ang="0">
                  <a:pos x="238" y="59"/>
                </a:cxn>
              </a:cxnLst>
              <a:rect l="0" t="0" r="r" b="b"/>
              <a:pathLst>
                <a:path w="476" h="597">
                  <a:moveTo>
                    <a:pt x="238" y="0"/>
                  </a:moveTo>
                  <a:cubicBezTo>
                    <a:pt x="319" y="0"/>
                    <a:pt x="379" y="27"/>
                    <a:pt x="419" y="81"/>
                  </a:cubicBezTo>
                  <a:cubicBezTo>
                    <a:pt x="457" y="133"/>
                    <a:pt x="476" y="205"/>
                    <a:pt x="476" y="299"/>
                  </a:cubicBezTo>
                  <a:cubicBezTo>
                    <a:pt x="476" y="391"/>
                    <a:pt x="457" y="464"/>
                    <a:pt x="419" y="516"/>
                  </a:cubicBezTo>
                  <a:cubicBezTo>
                    <a:pt x="380" y="570"/>
                    <a:pt x="320" y="597"/>
                    <a:pt x="239" y="597"/>
                  </a:cubicBezTo>
                  <a:cubicBezTo>
                    <a:pt x="80" y="597"/>
                    <a:pt x="0" y="496"/>
                    <a:pt x="0" y="295"/>
                  </a:cubicBezTo>
                  <a:cubicBezTo>
                    <a:pt x="0" y="204"/>
                    <a:pt x="19" y="133"/>
                    <a:pt x="57" y="81"/>
                  </a:cubicBezTo>
                  <a:cubicBezTo>
                    <a:pt x="97" y="27"/>
                    <a:pt x="157" y="0"/>
                    <a:pt x="238" y="0"/>
                  </a:cubicBezTo>
                  <a:moveTo>
                    <a:pt x="238" y="59"/>
                  </a:moveTo>
                  <a:cubicBezTo>
                    <a:pt x="184" y="59"/>
                    <a:pt x="146" y="83"/>
                    <a:pt x="125" y="132"/>
                  </a:cubicBezTo>
                  <a:cubicBezTo>
                    <a:pt x="108" y="173"/>
                    <a:pt x="99" y="227"/>
                    <a:pt x="99" y="296"/>
                  </a:cubicBezTo>
                  <a:cubicBezTo>
                    <a:pt x="99" y="368"/>
                    <a:pt x="108" y="424"/>
                    <a:pt x="125" y="465"/>
                  </a:cubicBezTo>
                  <a:cubicBezTo>
                    <a:pt x="146" y="514"/>
                    <a:pt x="184" y="539"/>
                    <a:pt x="238" y="539"/>
                  </a:cubicBezTo>
                  <a:cubicBezTo>
                    <a:pt x="293" y="539"/>
                    <a:pt x="331" y="514"/>
                    <a:pt x="351" y="465"/>
                  </a:cubicBezTo>
                  <a:cubicBezTo>
                    <a:pt x="368" y="424"/>
                    <a:pt x="377" y="369"/>
                    <a:pt x="377" y="299"/>
                  </a:cubicBezTo>
                  <a:cubicBezTo>
                    <a:pt x="377" y="227"/>
                    <a:pt x="368" y="172"/>
                    <a:pt x="351" y="132"/>
                  </a:cubicBezTo>
                  <a:cubicBezTo>
                    <a:pt x="330" y="83"/>
                    <a:pt x="293" y="59"/>
                    <a:pt x="238" y="59"/>
                  </a:cubicBezTo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80" name="Freeform 22"/>
            <p:cNvSpPr>
              <a:spLocks/>
            </p:cNvSpPr>
            <p:nvPr/>
          </p:nvSpPr>
          <p:spPr bwMode="gray">
            <a:xfrm>
              <a:off x="5019675" y="3098800"/>
              <a:ext cx="230188" cy="179388"/>
            </a:xfrm>
            <a:custGeom>
              <a:avLst/>
              <a:gdLst/>
              <a:ahLst/>
              <a:cxnLst>
                <a:cxn ang="0">
                  <a:pos x="159" y="565"/>
                </a:cxn>
                <a:cxn ang="0">
                  <a:pos x="0" y="0"/>
                </a:cxn>
                <a:cxn ang="0">
                  <a:pos x="97" y="0"/>
                </a:cxn>
                <a:cxn ang="0">
                  <a:pos x="217" y="461"/>
                </a:cxn>
                <a:cxn ang="0">
                  <a:pos x="323" y="0"/>
                </a:cxn>
                <a:cxn ang="0">
                  <a:pos x="418" y="0"/>
                </a:cxn>
                <a:cxn ang="0">
                  <a:pos x="529" y="461"/>
                </a:cxn>
                <a:cxn ang="0">
                  <a:pos x="649" y="0"/>
                </a:cxn>
                <a:cxn ang="0">
                  <a:pos x="728" y="0"/>
                </a:cxn>
                <a:cxn ang="0">
                  <a:pos x="568" y="565"/>
                </a:cxn>
                <a:cxn ang="0">
                  <a:pos x="472" y="565"/>
                </a:cxn>
                <a:cxn ang="0">
                  <a:pos x="388" y="199"/>
                </a:cxn>
                <a:cxn ang="0">
                  <a:pos x="366" y="84"/>
                </a:cxn>
                <a:cxn ang="0">
                  <a:pos x="345" y="199"/>
                </a:cxn>
                <a:cxn ang="0">
                  <a:pos x="260" y="565"/>
                </a:cxn>
                <a:cxn ang="0">
                  <a:pos x="159" y="565"/>
                </a:cxn>
              </a:cxnLst>
              <a:rect l="0" t="0" r="r" b="b"/>
              <a:pathLst>
                <a:path w="728" h="565">
                  <a:moveTo>
                    <a:pt x="159" y="565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7" y="0"/>
                    <a:pt x="97" y="0"/>
                    <a:pt x="97" y="0"/>
                  </a:cubicBezTo>
                  <a:cubicBezTo>
                    <a:pt x="217" y="461"/>
                    <a:pt x="217" y="461"/>
                    <a:pt x="217" y="461"/>
                  </a:cubicBezTo>
                  <a:cubicBezTo>
                    <a:pt x="323" y="0"/>
                    <a:pt x="323" y="0"/>
                    <a:pt x="323" y="0"/>
                  </a:cubicBezTo>
                  <a:cubicBezTo>
                    <a:pt x="418" y="0"/>
                    <a:pt x="418" y="0"/>
                    <a:pt x="418" y="0"/>
                  </a:cubicBezTo>
                  <a:cubicBezTo>
                    <a:pt x="529" y="461"/>
                    <a:pt x="529" y="461"/>
                    <a:pt x="529" y="461"/>
                  </a:cubicBezTo>
                  <a:cubicBezTo>
                    <a:pt x="649" y="0"/>
                    <a:pt x="649" y="0"/>
                    <a:pt x="649" y="0"/>
                  </a:cubicBezTo>
                  <a:cubicBezTo>
                    <a:pt x="728" y="0"/>
                    <a:pt x="728" y="0"/>
                    <a:pt x="728" y="0"/>
                  </a:cubicBezTo>
                  <a:cubicBezTo>
                    <a:pt x="568" y="565"/>
                    <a:pt x="568" y="565"/>
                    <a:pt x="568" y="565"/>
                  </a:cubicBezTo>
                  <a:cubicBezTo>
                    <a:pt x="472" y="565"/>
                    <a:pt x="472" y="565"/>
                    <a:pt x="472" y="565"/>
                  </a:cubicBezTo>
                  <a:cubicBezTo>
                    <a:pt x="388" y="199"/>
                    <a:pt x="388" y="199"/>
                    <a:pt x="388" y="199"/>
                  </a:cubicBezTo>
                  <a:cubicBezTo>
                    <a:pt x="381" y="173"/>
                    <a:pt x="374" y="135"/>
                    <a:pt x="366" y="84"/>
                  </a:cubicBezTo>
                  <a:cubicBezTo>
                    <a:pt x="360" y="125"/>
                    <a:pt x="353" y="163"/>
                    <a:pt x="345" y="199"/>
                  </a:cubicBezTo>
                  <a:cubicBezTo>
                    <a:pt x="260" y="565"/>
                    <a:pt x="260" y="565"/>
                    <a:pt x="260" y="565"/>
                  </a:cubicBezTo>
                  <a:lnTo>
                    <a:pt x="159" y="565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81" name="Freeform 23"/>
            <p:cNvSpPr>
              <a:spLocks/>
            </p:cNvSpPr>
            <p:nvPr/>
          </p:nvSpPr>
          <p:spPr bwMode="gray">
            <a:xfrm>
              <a:off x="5341938" y="3098800"/>
              <a:ext cx="231775" cy="179388"/>
            </a:xfrm>
            <a:custGeom>
              <a:avLst/>
              <a:gdLst/>
              <a:ahLst/>
              <a:cxnLst>
                <a:cxn ang="0">
                  <a:pos x="160" y="565"/>
                </a:cxn>
                <a:cxn ang="0">
                  <a:pos x="0" y="0"/>
                </a:cxn>
                <a:cxn ang="0">
                  <a:pos x="98" y="0"/>
                </a:cxn>
                <a:cxn ang="0">
                  <a:pos x="217" y="461"/>
                </a:cxn>
                <a:cxn ang="0">
                  <a:pos x="323" y="0"/>
                </a:cxn>
                <a:cxn ang="0">
                  <a:pos x="419" y="0"/>
                </a:cxn>
                <a:cxn ang="0">
                  <a:pos x="530" y="461"/>
                </a:cxn>
                <a:cxn ang="0">
                  <a:pos x="650" y="0"/>
                </a:cxn>
                <a:cxn ang="0">
                  <a:pos x="728" y="0"/>
                </a:cxn>
                <a:cxn ang="0">
                  <a:pos x="569" y="565"/>
                </a:cxn>
                <a:cxn ang="0">
                  <a:pos x="473" y="565"/>
                </a:cxn>
                <a:cxn ang="0">
                  <a:pos x="388" y="199"/>
                </a:cxn>
                <a:cxn ang="0">
                  <a:pos x="367" y="84"/>
                </a:cxn>
                <a:cxn ang="0">
                  <a:pos x="345" y="199"/>
                </a:cxn>
                <a:cxn ang="0">
                  <a:pos x="261" y="565"/>
                </a:cxn>
                <a:cxn ang="0">
                  <a:pos x="160" y="565"/>
                </a:cxn>
              </a:cxnLst>
              <a:rect l="0" t="0" r="r" b="b"/>
              <a:pathLst>
                <a:path w="728" h="565">
                  <a:moveTo>
                    <a:pt x="160" y="565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217" y="461"/>
                    <a:pt x="217" y="461"/>
                    <a:pt x="217" y="461"/>
                  </a:cubicBezTo>
                  <a:cubicBezTo>
                    <a:pt x="323" y="0"/>
                    <a:pt x="323" y="0"/>
                    <a:pt x="323" y="0"/>
                  </a:cubicBezTo>
                  <a:cubicBezTo>
                    <a:pt x="419" y="0"/>
                    <a:pt x="419" y="0"/>
                    <a:pt x="419" y="0"/>
                  </a:cubicBezTo>
                  <a:cubicBezTo>
                    <a:pt x="530" y="461"/>
                    <a:pt x="530" y="461"/>
                    <a:pt x="530" y="461"/>
                  </a:cubicBezTo>
                  <a:cubicBezTo>
                    <a:pt x="650" y="0"/>
                    <a:pt x="650" y="0"/>
                    <a:pt x="650" y="0"/>
                  </a:cubicBezTo>
                  <a:cubicBezTo>
                    <a:pt x="728" y="0"/>
                    <a:pt x="728" y="0"/>
                    <a:pt x="728" y="0"/>
                  </a:cubicBezTo>
                  <a:cubicBezTo>
                    <a:pt x="569" y="565"/>
                    <a:pt x="569" y="565"/>
                    <a:pt x="569" y="565"/>
                  </a:cubicBezTo>
                  <a:cubicBezTo>
                    <a:pt x="473" y="565"/>
                    <a:pt x="473" y="565"/>
                    <a:pt x="473" y="565"/>
                  </a:cubicBezTo>
                  <a:cubicBezTo>
                    <a:pt x="388" y="199"/>
                    <a:pt x="388" y="199"/>
                    <a:pt x="388" y="199"/>
                  </a:cubicBezTo>
                  <a:cubicBezTo>
                    <a:pt x="382" y="173"/>
                    <a:pt x="375" y="135"/>
                    <a:pt x="367" y="84"/>
                  </a:cubicBezTo>
                  <a:cubicBezTo>
                    <a:pt x="361" y="125"/>
                    <a:pt x="354" y="163"/>
                    <a:pt x="345" y="199"/>
                  </a:cubicBezTo>
                  <a:cubicBezTo>
                    <a:pt x="261" y="565"/>
                    <a:pt x="261" y="565"/>
                    <a:pt x="261" y="565"/>
                  </a:cubicBezTo>
                  <a:lnTo>
                    <a:pt x="160" y="565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82" name="Freeform 24"/>
            <p:cNvSpPr>
              <a:spLocks noEditPoints="1"/>
            </p:cNvSpPr>
            <p:nvPr/>
          </p:nvSpPr>
          <p:spPr bwMode="gray">
            <a:xfrm>
              <a:off x="5603875" y="3033713"/>
              <a:ext cx="38100" cy="244475"/>
            </a:xfrm>
            <a:custGeom>
              <a:avLst/>
              <a:gdLst/>
              <a:ahLst/>
              <a:cxnLst>
                <a:cxn ang="0">
                  <a:pos x="59" y="0"/>
                </a:cxn>
                <a:cxn ang="0">
                  <a:pos x="103" y="19"/>
                </a:cxn>
                <a:cxn ang="0">
                  <a:pos x="118" y="59"/>
                </a:cxn>
                <a:cxn ang="0">
                  <a:pos x="99" y="103"/>
                </a:cxn>
                <a:cxn ang="0">
                  <a:pos x="59" y="118"/>
                </a:cxn>
                <a:cxn ang="0">
                  <a:pos x="15" y="99"/>
                </a:cxn>
                <a:cxn ang="0">
                  <a:pos x="0" y="58"/>
                </a:cxn>
                <a:cxn ang="0">
                  <a:pos x="20" y="15"/>
                </a:cxn>
                <a:cxn ang="0">
                  <a:pos x="59" y="0"/>
                </a:cxn>
                <a:cxn ang="0">
                  <a:pos x="12" y="207"/>
                </a:cxn>
                <a:cxn ang="0">
                  <a:pos x="109" y="207"/>
                </a:cxn>
                <a:cxn ang="0">
                  <a:pos x="109" y="772"/>
                </a:cxn>
                <a:cxn ang="0">
                  <a:pos x="12" y="772"/>
                </a:cxn>
                <a:cxn ang="0">
                  <a:pos x="12" y="207"/>
                </a:cxn>
              </a:cxnLst>
              <a:rect l="0" t="0" r="r" b="b"/>
              <a:pathLst>
                <a:path w="118" h="772">
                  <a:moveTo>
                    <a:pt x="59" y="0"/>
                  </a:moveTo>
                  <a:cubicBezTo>
                    <a:pt x="77" y="0"/>
                    <a:pt x="91" y="6"/>
                    <a:pt x="103" y="19"/>
                  </a:cubicBezTo>
                  <a:cubicBezTo>
                    <a:pt x="113" y="31"/>
                    <a:pt x="118" y="44"/>
                    <a:pt x="118" y="59"/>
                  </a:cubicBezTo>
                  <a:cubicBezTo>
                    <a:pt x="118" y="77"/>
                    <a:pt x="112" y="91"/>
                    <a:pt x="99" y="103"/>
                  </a:cubicBezTo>
                  <a:cubicBezTo>
                    <a:pt x="88" y="113"/>
                    <a:pt x="74" y="118"/>
                    <a:pt x="59" y="118"/>
                  </a:cubicBezTo>
                  <a:cubicBezTo>
                    <a:pt x="41" y="118"/>
                    <a:pt x="27" y="112"/>
                    <a:pt x="15" y="99"/>
                  </a:cubicBezTo>
                  <a:cubicBezTo>
                    <a:pt x="5" y="88"/>
                    <a:pt x="0" y="74"/>
                    <a:pt x="0" y="58"/>
                  </a:cubicBezTo>
                  <a:cubicBezTo>
                    <a:pt x="0" y="41"/>
                    <a:pt x="7" y="27"/>
                    <a:pt x="20" y="15"/>
                  </a:cubicBezTo>
                  <a:cubicBezTo>
                    <a:pt x="31" y="5"/>
                    <a:pt x="44" y="0"/>
                    <a:pt x="59" y="0"/>
                  </a:cubicBezTo>
                  <a:moveTo>
                    <a:pt x="12" y="207"/>
                  </a:moveTo>
                  <a:cubicBezTo>
                    <a:pt x="109" y="207"/>
                    <a:pt x="109" y="207"/>
                    <a:pt x="109" y="207"/>
                  </a:cubicBezTo>
                  <a:cubicBezTo>
                    <a:pt x="109" y="772"/>
                    <a:pt x="109" y="772"/>
                    <a:pt x="109" y="772"/>
                  </a:cubicBezTo>
                  <a:cubicBezTo>
                    <a:pt x="12" y="772"/>
                    <a:pt x="12" y="772"/>
                    <a:pt x="12" y="772"/>
                  </a:cubicBezTo>
                  <a:lnTo>
                    <a:pt x="12" y="207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83" name="Freeform 25"/>
            <p:cNvSpPr>
              <a:spLocks/>
            </p:cNvSpPr>
            <p:nvPr/>
          </p:nvSpPr>
          <p:spPr bwMode="gray">
            <a:xfrm>
              <a:off x="5694363" y="3051175"/>
              <a:ext cx="79375" cy="2270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6" y="0"/>
                </a:cxn>
                <a:cxn ang="0">
                  <a:pos x="96" y="153"/>
                </a:cxn>
                <a:cxn ang="0">
                  <a:pos x="248" y="153"/>
                </a:cxn>
                <a:cxn ang="0">
                  <a:pos x="248" y="215"/>
                </a:cxn>
                <a:cxn ang="0">
                  <a:pos x="96" y="215"/>
                </a:cxn>
                <a:cxn ang="0">
                  <a:pos x="96" y="515"/>
                </a:cxn>
                <a:cxn ang="0">
                  <a:pos x="122" y="630"/>
                </a:cxn>
                <a:cxn ang="0">
                  <a:pos x="175" y="655"/>
                </a:cxn>
                <a:cxn ang="0">
                  <a:pos x="217" y="657"/>
                </a:cxn>
                <a:cxn ang="0">
                  <a:pos x="248" y="657"/>
                </a:cxn>
                <a:cxn ang="0">
                  <a:pos x="248" y="718"/>
                </a:cxn>
                <a:cxn ang="0">
                  <a:pos x="196" y="718"/>
                </a:cxn>
                <a:cxn ang="0">
                  <a:pos x="99" y="709"/>
                </a:cxn>
                <a:cxn ang="0">
                  <a:pos x="8" y="613"/>
                </a:cxn>
                <a:cxn ang="0">
                  <a:pos x="0" y="501"/>
                </a:cxn>
                <a:cxn ang="0">
                  <a:pos x="0" y="0"/>
                </a:cxn>
              </a:cxnLst>
              <a:rect l="0" t="0" r="r" b="b"/>
              <a:pathLst>
                <a:path w="248" h="718">
                  <a:moveTo>
                    <a:pt x="0" y="0"/>
                  </a:moveTo>
                  <a:cubicBezTo>
                    <a:pt x="96" y="0"/>
                    <a:pt x="96" y="0"/>
                    <a:pt x="96" y="0"/>
                  </a:cubicBezTo>
                  <a:cubicBezTo>
                    <a:pt x="96" y="153"/>
                    <a:pt x="96" y="153"/>
                    <a:pt x="96" y="153"/>
                  </a:cubicBezTo>
                  <a:cubicBezTo>
                    <a:pt x="248" y="153"/>
                    <a:pt x="248" y="153"/>
                    <a:pt x="248" y="153"/>
                  </a:cubicBezTo>
                  <a:cubicBezTo>
                    <a:pt x="248" y="215"/>
                    <a:pt x="248" y="215"/>
                    <a:pt x="248" y="215"/>
                  </a:cubicBezTo>
                  <a:cubicBezTo>
                    <a:pt x="96" y="215"/>
                    <a:pt x="96" y="215"/>
                    <a:pt x="96" y="215"/>
                  </a:cubicBezTo>
                  <a:cubicBezTo>
                    <a:pt x="96" y="515"/>
                    <a:pt x="96" y="515"/>
                    <a:pt x="96" y="515"/>
                  </a:cubicBezTo>
                  <a:cubicBezTo>
                    <a:pt x="96" y="572"/>
                    <a:pt x="105" y="610"/>
                    <a:pt x="122" y="630"/>
                  </a:cubicBezTo>
                  <a:cubicBezTo>
                    <a:pt x="134" y="644"/>
                    <a:pt x="151" y="652"/>
                    <a:pt x="175" y="655"/>
                  </a:cubicBezTo>
                  <a:cubicBezTo>
                    <a:pt x="183" y="656"/>
                    <a:pt x="197" y="657"/>
                    <a:pt x="217" y="657"/>
                  </a:cubicBezTo>
                  <a:cubicBezTo>
                    <a:pt x="248" y="657"/>
                    <a:pt x="248" y="657"/>
                    <a:pt x="248" y="657"/>
                  </a:cubicBezTo>
                  <a:cubicBezTo>
                    <a:pt x="248" y="718"/>
                    <a:pt x="248" y="718"/>
                    <a:pt x="248" y="718"/>
                  </a:cubicBezTo>
                  <a:cubicBezTo>
                    <a:pt x="196" y="718"/>
                    <a:pt x="196" y="718"/>
                    <a:pt x="196" y="718"/>
                  </a:cubicBezTo>
                  <a:cubicBezTo>
                    <a:pt x="155" y="718"/>
                    <a:pt x="122" y="715"/>
                    <a:pt x="99" y="709"/>
                  </a:cubicBezTo>
                  <a:cubicBezTo>
                    <a:pt x="49" y="695"/>
                    <a:pt x="19" y="663"/>
                    <a:pt x="8" y="613"/>
                  </a:cubicBezTo>
                  <a:cubicBezTo>
                    <a:pt x="3" y="586"/>
                    <a:pt x="0" y="549"/>
                    <a:pt x="0" y="50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84" name="Freeform 26"/>
            <p:cNvSpPr>
              <a:spLocks/>
            </p:cNvSpPr>
            <p:nvPr/>
          </p:nvSpPr>
          <p:spPr bwMode="gray">
            <a:xfrm>
              <a:off x="5810250" y="3008313"/>
              <a:ext cx="136525" cy="269875"/>
            </a:xfrm>
            <a:custGeom>
              <a:avLst/>
              <a:gdLst/>
              <a:ahLst/>
              <a:cxnLst>
                <a:cxn ang="0">
                  <a:pos x="0" y="851"/>
                </a:cxn>
                <a:cxn ang="0">
                  <a:pos x="0" y="0"/>
                </a:cxn>
                <a:cxn ang="0">
                  <a:pos x="96" y="0"/>
                </a:cxn>
                <a:cxn ang="0">
                  <a:pos x="96" y="300"/>
                </a:cxn>
                <a:cxn ang="0">
                  <a:pos x="239" y="270"/>
                </a:cxn>
                <a:cxn ang="0">
                  <a:pos x="411" y="359"/>
                </a:cxn>
                <a:cxn ang="0">
                  <a:pos x="429" y="504"/>
                </a:cxn>
                <a:cxn ang="0">
                  <a:pos x="429" y="851"/>
                </a:cxn>
                <a:cxn ang="0">
                  <a:pos x="332" y="851"/>
                </a:cxn>
                <a:cxn ang="0">
                  <a:pos x="332" y="489"/>
                </a:cxn>
                <a:cxn ang="0">
                  <a:pos x="315" y="374"/>
                </a:cxn>
                <a:cxn ang="0">
                  <a:pos x="230" y="329"/>
                </a:cxn>
                <a:cxn ang="0">
                  <a:pos x="96" y="363"/>
                </a:cxn>
                <a:cxn ang="0">
                  <a:pos x="96" y="851"/>
                </a:cxn>
                <a:cxn ang="0">
                  <a:pos x="0" y="851"/>
                </a:cxn>
              </a:cxnLst>
              <a:rect l="0" t="0" r="r" b="b"/>
              <a:pathLst>
                <a:path w="429" h="851">
                  <a:moveTo>
                    <a:pt x="0" y="85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6" y="300"/>
                    <a:pt x="96" y="300"/>
                    <a:pt x="96" y="300"/>
                  </a:cubicBezTo>
                  <a:cubicBezTo>
                    <a:pt x="147" y="280"/>
                    <a:pt x="194" y="270"/>
                    <a:pt x="239" y="270"/>
                  </a:cubicBezTo>
                  <a:cubicBezTo>
                    <a:pt x="328" y="270"/>
                    <a:pt x="386" y="300"/>
                    <a:pt x="411" y="359"/>
                  </a:cubicBezTo>
                  <a:cubicBezTo>
                    <a:pt x="423" y="386"/>
                    <a:pt x="429" y="434"/>
                    <a:pt x="429" y="504"/>
                  </a:cubicBezTo>
                  <a:cubicBezTo>
                    <a:pt x="429" y="851"/>
                    <a:pt x="429" y="851"/>
                    <a:pt x="429" y="851"/>
                  </a:cubicBezTo>
                  <a:cubicBezTo>
                    <a:pt x="332" y="851"/>
                    <a:pt x="332" y="851"/>
                    <a:pt x="332" y="851"/>
                  </a:cubicBezTo>
                  <a:cubicBezTo>
                    <a:pt x="332" y="489"/>
                    <a:pt x="332" y="489"/>
                    <a:pt x="332" y="489"/>
                  </a:cubicBezTo>
                  <a:cubicBezTo>
                    <a:pt x="332" y="435"/>
                    <a:pt x="326" y="397"/>
                    <a:pt x="315" y="374"/>
                  </a:cubicBezTo>
                  <a:cubicBezTo>
                    <a:pt x="300" y="344"/>
                    <a:pt x="271" y="329"/>
                    <a:pt x="230" y="329"/>
                  </a:cubicBezTo>
                  <a:cubicBezTo>
                    <a:pt x="192" y="329"/>
                    <a:pt x="147" y="340"/>
                    <a:pt x="96" y="363"/>
                  </a:cubicBezTo>
                  <a:cubicBezTo>
                    <a:pt x="96" y="851"/>
                    <a:pt x="96" y="851"/>
                    <a:pt x="96" y="851"/>
                  </a:cubicBezTo>
                  <a:lnTo>
                    <a:pt x="0" y="85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85" name="Freeform 27"/>
            <p:cNvSpPr>
              <a:spLocks/>
            </p:cNvSpPr>
            <p:nvPr/>
          </p:nvSpPr>
          <p:spPr bwMode="gray">
            <a:xfrm>
              <a:off x="6061075" y="3098800"/>
              <a:ext cx="150813" cy="266700"/>
            </a:xfrm>
            <a:custGeom>
              <a:avLst/>
              <a:gdLst/>
              <a:ahLst/>
              <a:cxnLst>
                <a:cxn ang="0">
                  <a:pos x="42" y="115"/>
                </a:cxn>
                <a:cxn ang="0">
                  <a:pos x="0" y="0"/>
                </a:cxn>
                <a:cxn ang="0">
                  <a:pos x="20" y="0"/>
                </a:cxn>
                <a:cxn ang="0">
                  <a:pos x="50" y="91"/>
                </a:cxn>
                <a:cxn ang="0">
                  <a:pos x="78" y="0"/>
                </a:cxn>
                <a:cxn ang="0">
                  <a:pos x="95" y="0"/>
                </a:cxn>
                <a:cxn ang="0">
                  <a:pos x="38" y="168"/>
                </a:cxn>
                <a:cxn ang="0">
                  <a:pos x="21" y="168"/>
                </a:cxn>
                <a:cxn ang="0">
                  <a:pos x="42" y="115"/>
                </a:cxn>
              </a:cxnLst>
              <a:rect l="0" t="0" r="r" b="b"/>
              <a:pathLst>
                <a:path w="95" h="168">
                  <a:moveTo>
                    <a:pt x="42" y="115"/>
                  </a:moveTo>
                  <a:lnTo>
                    <a:pt x="0" y="0"/>
                  </a:lnTo>
                  <a:lnTo>
                    <a:pt x="20" y="0"/>
                  </a:lnTo>
                  <a:lnTo>
                    <a:pt x="50" y="91"/>
                  </a:lnTo>
                  <a:lnTo>
                    <a:pt x="78" y="0"/>
                  </a:lnTo>
                  <a:lnTo>
                    <a:pt x="95" y="0"/>
                  </a:lnTo>
                  <a:lnTo>
                    <a:pt x="38" y="168"/>
                  </a:lnTo>
                  <a:lnTo>
                    <a:pt x="21" y="168"/>
                  </a:lnTo>
                  <a:lnTo>
                    <a:pt x="42" y="115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86" name="Freeform 28"/>
            <p:cNvSpPr>
              <a:spLocks noEditPoints="1"/>
            </p:cNvSpPr>
            <p:nvPr/>
          </p:nvSpPr>
          <p:spPr bwMode="gray">
            <a:xfrm>
              <a:off x="6230938" y="3094038"/>
              <a:ext cx="150813" cy="190500"/>
            </a:xfrm>
            <a:custGeom>
              <a:avLst/>
              <a:gdLst/>
              <a:ahLst/>
              <a:cxnLst>
                <a:cxn ang="0">
                  <a:pos x="238" y="0"/>
                </a:cxn>
                <a:cxn ang="0">
                  <a:pos x="418" y="81"/>
                </a:cxn>
                <a:cxn ang="0">
                  <a:pos x="475" y="299"/>
                </a:cxn>
                <a:cxn ang="0">
                  <a:pos x="418" y="516"/>
                </a:cxn>
                <a:cxn ang="0">
                  <a:pos x="238" y="597"/>
                </a:cxn>
                <a:cxn ang="0">
                  <a:pos x="0" y="295"/>
                </a:cxn>
                <a:cxn ang="0">
                  <a:pos x="57" y="81"/>
                </a:cxn>
                <a:cxn ang="0">
                  <a:pos x="238" y="0"/>
                </a:cxn>
                <a:cxn ang="0">
                  <a:pos x="238" y="59"/>
                </a:cxn>
                <a:cxn ang="0">
                  <a:pos x="124" y="132"/>
                </a:cxn>
                <a:cxn ang="0">
                  <a:pos x="98" y="296"/>
                </a:cxn>
                <a:cxn ang="0">
                  <a:pos x="124" y="465"/>
                </a:cxn>
                <a:cxn ang="0">
                  <a:pos x="238" y="539"/>
                </a:cxn>
                <a:cxn ang="0">
                  <a:pos x="351" y="465"/>
                </a:cxn>
                <a:cxn ang="0">
                  <a:pos x="376" y="299"/>
                </a:cxn>
                <a:cxn ang="0">
                  <a:pos x="351" y="132"/>
                </a:cxn>
                <a:cxn ang="0">
                  <a:pos x="238" y="59"/>
                </a:cxn>
              </a:cxnLst>
              <a:rect l="0" t="0" r="r" b="b"/>
              <a:pathLst>
                <a:path w="475" h="597">
                  <a:moveTo>
                    <a:pt x="238" y="0"/>
                  </a:moveTo>
                  <a:cubicBezTo>
                    <a:pt x="319" y="0"/>
                    <a:pt x="379" y="27"/>
                    <a:pt x="418" y="81"/>
                  </a:cubicBezTo>
                  <a:cubicBezTo>
                    <a:pt x="456" y="133"/>
                    <a:pt x="475" y="205"/>
                    <a:pt x="475" y="299"/>
                  </a:cubicBezTo>
                  <a:cubicBezTo>
                    <a:pt x="475" y="391"/>
                    <a:pt x="456" y="464"/>
                    <a:pt x="418" y="516"/>
                  </a:cubicBezTo>
                  <a:cubicBezTo>
                    <a:pt x="380" y="570"/>
                    <a:pt x="320" y="597"/>
                    <a:pt x="238" y="597"/>
                  </a:cubicBezTo>
                  <a:cubicBezTo>
                    <a:pt x="79" y="597"/>
                    <a:pt x="0" y="496"/>
                    <a:pt x="0" y="295"/>
                  </a:cubicBezTo>
                  <a:cubicBezTo>
                    <a:pt x="0" y="204"/>
                    <a:pt x="19" y="133"/>
                    <a:pt x="57" y="81"/>
                  </a:cubicBezTo>
                  <a:cubicBezTo>
                    <a:pt x="96" y="27"/>
                    <a:pt x="157" y="0"/>
                    <a:pt x="238" y="0"/>
                  </a:cubicBezTo>
                  <a:moveTo>
                    <a:pt x="238" y="59"/>
                  </a:moveTo>
                  <a:cubicBezTo>
                    <a:pt x="183" y="59"/>
                    <a:pt x="145" y="83"/>
                    <a:pt x="124" y="132"/>
                  </a:cubicBezTo>
                  <a:cubicBezTo>
                    <a:pt x="107" y="173"/>
                    <a:pt x="98" y="227"/>
                    <a:pt x="98" y="296"/>
                  </a:cubicBezTo>
                  <a:cubicBezTo>
                    <a:pt x="98" y="368"/>
                    <a:pt x="107" y="424"/>
                    <a:pt x="124" y="465"/>
                  </a:cubicBezTo>
                  <a:cubicBezTo>
                    <a:pt x="145" y="514"/>
                    <a:pt x="183" y="539"/>
                    <a:pt x="238" y="539"/>
                  </a:cubicBezTo>
                  <a:cubicBezTo>
                    <a:pt x="292" y="539"/>
                    <a:pt x="330" y="514"/>
                    <a:pt x="351" y="465"/>
                  </a:cubicBezTo>
                  <a:cubicBezTo>
                    <a:pt x="368" y="424"/>
                    <a:pt x="376" y="369"/>
                    <a:pt x="376" y="299"/>
                  </a:cubicBezTo>
                  <a:cubicBezTo>
                    <a:pt x="376" y="227"/>
                    <a:pt x="368" y="172"/>
                    <a:pt x="351" y="132"/>
                  </a:cubicBezTo>
                  <a:cubicBezTo>
                    <a:pt x="329" y="83"/>
                    <a:pt x="292" y="59"/>
                    <a:pt x="238" y="59"/>
                  </a:cubicBezTo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87" name="Freeform 29"/>
            <p:cNvSpPr>
              <a:spLocks/>
            </p:cNvSpPr>
            <p:nvPr/>
          </p:nvSpPr>
          <p:spPr bwMode="gray">
            <a:xfrm>
              <a:off x="6423025" y="3098800"/>
              <a:ext cx="131763" cy="18573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6" y="0"/>
                </a:cxn>
                <a:cxn ang="0">
                  <a:pos x="96" y="349"/>
                </a:cxn>
                <a:cxn ang="0">
                  <a:pos x="114" y="477"/>
                </a:cxn>
                <a:cxn ang="0">
                  <a:pos x="154" y="514"/>
                </a:cxn>
                <a:cxn ang="0">
                  <a:pos x="216" y="523"/>
                </a:cxn>
                <a:cxn ang="0">
                  <a:pos x="316" y="508"/>
                </a:cxn>
                <a:cxn ang="0">
                  <a:pos x="316" y="0"/>
                </a:cxn>
                <a:cxn ang="0">
                  <a:pos x="412" y="0"/>
                </a:cxn>
                <a:cxn ang="0">
                  <a:pos x="412" y="556"/>
                </a:cxn>
                <a:cxn ang="0">
                  <a:pos x="210" y="581"/>
                </a:cxn>
                <a:cxn ang="0">
                  <a:pos x="67" y="551"/>
                </a:cxn>
                <a:cxn ang="0">
                  <a:pos x="4" y="445"/>
                </a:cxn>
                <a:cxn ang="0">
                  <a:pos x="0" y="356"/>
                </a:cxn>
                <a:cxn ang="0">
                  <a:pos x="0" y="0"/>
                </a:cxn>
              </a:cxnLst>
              <a:rect l="0" t="0" r="r" b="b"/>
              <a:pathLst>
                <a:path w="412" h="581">
                  <a:moveTo>
                    <a:pt x="0" y="0"/>
                  </a:moveTo>
                  <a:cubicBezTo>
                    <a:pt x="96" y="0"/>
                    <a:pt x="96" y="0"/>
                    <a:pt x="96" y="0"/>
                  </a:cubicBezTo>
                  <a:cubicBezTo>
                    <a:pt x="96" y="349"/>
                    <a:pt x="96" y="349"/>
                    <a:pt x="96" y="349"/>
                  </a:cubicBezTo>
                  <a:cubicBezTo>
                    <a:pt x="96" y="413"/>
                    <a:pt x="102" y="456"/>
                    <a:pt x="114" y="477"/>
                  </a:cubicBezTo>
                  <a:cubicBezTo>
                    <a:pt x="123" y="495"/>
                    <a:pt x="136" y="507"/>
                    <a:pt x="154" y="514"/>
                  </a:cubicBezTo>
                  <a:cubicBezTo>
                    <a:pt x="168" y="520"/>
                    <a:pt x="189" y="523"/>
                    <a:pt x="216" y="523"/>
                  </a:cubicBezTo>
                  <a:cubicBezTo>
                    <a:pt x="248" y="523"/>
                    <a:pt x="281" y="518"/>
                    <a:pt x="316" y="508"/>
                  </a:cubicBezTo>
                  <a:cubicBezTo>
                    <a:pt x="316" y="0"/>
                    <a:pt x="316" y="0"/>
                    <a:pt x="316" y="0"/>
                  </a:cubicBezTo>
                  <a:cubicBezTo>
                    <a:pt x="412" y="0"/>
                    <a:pt x="412" y="0"/>
                    <a:pt x="412" y="0"/>
                  </a:cubicBezTo>
                  <a:cubicBezTo>
                    <a:pt x="412" y="556"/>
                    <a:pt x="412" y="556"/>
                    <a:pt x="412" y="556"/>
                  </a:cubicBezTo>
                  <a:cubicBezTo>
                    <a:pt x="341" y="573"/>
                    <a:pt x="273" y="581"/>
                    <a:pt x="210" y="581"/>
                  </a:cubicBezTo>
                  <a:cubicBezTo>
                    <a:pt x="146" y="581"/>
                    <a:pt x="98" y="571"/>
                    <a:pt x="67" y="551"/>
                  </a:cubicBezTo>
                  <a:cubicBezTo>
                    <a:pt x="32" y="528"/>
                    <a:pt x="11" y="493"/>
                    <a:pt x="4" y="445"/>
                  </a:cubicBezTo>
                  <a:cubicBezTo>
                    <a:pt x="1" y="422"/>
                    <a:pt x="0" y="393"/>
                    <a:pt x="0" y="356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88" name="Freeform 30"/>
            <p:cNvSpPr>
              <a:spLocks/>
            </p:cNvSpPr>
            <p:nvPr/>
          </p:nvSpPr>
          <p:spPr bwMode="gray">
            <a:xfrm>
              <a:off x="4097338" y="1362075"/>
              <a:ext cx="590550" cy="455613"/>
            </a:xfrm>
            <a:custGeom>
              <a:avLst/>
              <a:gdLst/>
              <a:ahLst/>
              <a:cxnLst>
                <a:cxn ang="0">
                  <a:pos x="755" y="601"/>
                </a:cxn>
                <a:cxn ang="0">
                  <a:pos x="470" y="505"/>
                </a:cxn>
                <a:cxn ang="0">
                  <a:pos x="1" y="970"/>
                </a:cxn>
                <a:cxn ang="0">
                  <a:pos x="470" y="1433"/>
                </a:cxn>
                <a:cxn ang="0">
                  <a:pos x="827" y="1272"/>
                </a:cxn>
                <a:cxn ang="0">
                  <a:pos x="827" y="1015"/>
                </a:cxn>
                <a:cxn ang="0">
                  <a:pos x="605" y="1232"/>
                </a:cxn>
                <a:cxn ang="0">
                  <a:pos x="470" y="1260"/>
                </a:cxn>
                <a:cxn ang="0">
                  <a:pos x="176" y="970"/>
                </a:cxn>
                <a:cxn ang="0">
                  <a:pos x="470" y="678"/>
                </a:cxn>
                <a:cxn ang="0">
                  <a:pos x="676" y="763"/>
                </a:cxn>
                <a:cxn ang="0">
                  <a:pos x="859" y="973"/>
                </a:cxn>
                <a:cxn ang="0">
                  <a:pos x="1281" y="1157"/>
                </a:cxn>
                <a:cxn ang="0">
                  <a:pos x="1858" y="582"/>
                </a:cxn>
                <a:cxn ang="0">
                  <a:pos x="1281" y="0"/>
                </a:cxn>
                <a:cxn ang="0">
                  <a:pos x="827" y="231"/>
                </a:cxn>
                <a:cxn ang="0">
                  <a:pos x="827" y="577"/>
                </a:cxn>
                <a:cxn ang="0">
                  <a:pos x="1281" y="182"/>
                </a:cxn>
                <a:cxn ang="0">
                  <a:pos x="1677" y="582"/>
                </a:cxn>
                <a:cxn ang="0">
                  <a:pos x="1281" y="978"/>
                </a:cxn>
                <a:cxn ang="0">
                  <a:pos x="1024" y="884"/>
                </a:cxn>
                <a:cxn ang="0">
                  <a:pos x="755" y="601"/>
                </a:cxn>
              </a:cxnLst>
              <a:rect l="0" t="0" r="r" b="b"/>
              <a:pathLst>
                <a:path w="1858" h="1434">
                  <a:moveTo>
                    <a:pt x="755" y="601"/>
                  </a:moveTo>
                  <a:cubicBezTo>
                    <a:pt x="687" y="541"/>
                    <a:pt x="578" y="505"/>
                    <a:pt x="470" y="505"/>
                  </a:cubicBezTo>
                  <a:cubicBezTo>
                    <a:pt x="212" y="504"/>
                    <a:pt x="2" y="707"/>
                    <a:pt x="1" y="970"/>
                  </a:cubicBezTo>
                  <a:cubicBezTo>
                    <a:pt x="0" y="1228"/>
                    <a:pt x="212" y="1433"/>
                    <a:pt x="470" y="1433"/>
                  </a:cubicBezTo>
                  <a:cubicBezTo>
                    <a:pt x="615" y="1434"/>
                    <a:pt x="741" y="1375"/>
                    <a:pt x="827" y="1272"/>
                  </a:cubicBezTo>
                  <a:cubicBezTo>
                    <a:pt x="827" y="1015"/>
                    <a:pt x="827" y="1015"/>
                    <a:pt x="827" y="1015"/>
                  </a:cubicBezTo>
                  <a:cubicBezTo>
                    <a:pt x="781" y="1095"/>
                    <a:pt x="689" y="1197"/>
                    <a:pt x="605" y="1232"/>
                  </a:cubicBezTo>
                  <a:cubicBezTo>
                    <a:pt x="563" y="1249"/>
                    <a:pt x="520" y="1260"/>
                    <a:pt x="470" y="1260"/>
                  </a:cubicBezTo>
                  <a:cubicBezTo>
                    <a:pt x="309" y="1260"/>
                    <a:pt x="176" y="1135"/>
                    <a:pt x="176" y="970"/>
                  </a:cubicBezTo>
                  <a:cubicBezTo>
                    <a:pt x="176" y="818"/>
                    <a:pt x="299" y="677"/>
                    <a:pt x="470" y="678"/>
                  </a:cubicBezTo>
                  <a:cubicBezTo>
                    <a:pt x="551" y="678"/>
                    <a:pt x="623" y="711"/>
                    <a:pt x="676" y="763"/>
                  </a:cubicBezTo>
                  <a:cubicBezTo>
                    <a:pt x="732" y="817"/>
                    <a:pt x="818" y="929"/>
                    <a:pt x="859" y="973"/>
                  </a:cubicBezTo>
                  <a:cubicBezTo>
                    <a:pt x="964" y="1086"/>
                    <a:pt x="1115" y="1157"/>
                    <a:pt x="1281" y="1157"/>
                  </a:cubicBezTo>
                  <a:cubicBezTo>
                    <a:pt x="1599" y="1158"/>
                    <a:pt x="1858" y="900"/>
                    <a:pt x="1858" y="582"/>
                  </a:cubicBezTo>
                  <a:cubicBezTo>
                    <a:pt x="1858" y="264"/>
                    <a:pt x="1599" y="0"/>
                    <a:pt x="1281" y="0"/>
                  </a:cubicBezTo>
                  <a:cubicBezTo>
                    <a:pt x="1096" y="0"/>
                    <a:pt x="933" y="96"/>
                    <a:pt x="827" y="231"/>
                  </a:cubicBezTo>
                  <a:cubicBezTo>
                    <a:pt x="827" y="577"/>
                    <a:pt x="827" y="577"/>
                    <a:pt x="827" y="577"/>
                  </a:cubicBezTo>
                  <a:cubicBezTo>
                    <a:pt x="908" y="358"/>
                    <a:pt x="1053" y="182"/>
                    <a:pt x="1281" y="182"/>
                  </a:cubicBezTo>
                  <a:cubicBezTo>
                    <a:pt x="1500" y="182"/>
                    <a:pt x="1677" y="363"/>
                    <a:pt x="1677" y="582"/>
                  </a:cubicBezTo>
                  <a:cubicBezTo>
                    <a:pt x="1676" y="801"/>
                    <a:pt x="1500" y="979"/>
                    <a:pt x="1281" y="978"/>
                  </a:cubicBezTo>
                  <a:cubicBezTo>
                    <a:pt x="1183" y="978"/>
                    <a:pt x="1093" y="942"/>
                    <a:pt x="1024" y="884"/>
                  </a:cubicBezTo>
                  <a:cubicBezTo>
                    <a:pt x="938" y="817"/>
                    <a:pt x="843" y="675"/>
                    <a:pt x="755" y="601"/>
                  </a:cubicBezTo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89" name="Freeform 31"/>
            <p:cNvSpPr>
              <a:spLocks/>
            </p:cNvSpPr>
            <p:nvPr/>
          </p:nvSpPr>
          <p:spPr bwMode="gray">
            <a:xfrm>
              <a:off x="3133725" y="1857375"/>
              <a:ext cx="406400" cy="6619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76" y="0"/>
                </a:cxn>
                <a:cxn ang="0">
                  <a:pos x="1276" y="355"/>
                </a:cxn>
                <a:cxn ang="0">
                  <a:pos x="1072" y="215"/>
                </a:cxn>
                <a:cxn ang="0">
                  <a:pos x="482" y="215"/>
                </a:cxn>
                <a:cxn ang="0">
                  <a:pos x="482" y="828"/>
                </a:cxn>
                <a:cxn ang="0">
                  <a:pos x="1122" y="828"/>
                </a:cxn>
                <a:cxn ang="0">
                  <a:pos x="1122" y="1153"/>
                </a:cxn>
                <a:cxn ang="0">
                  <a:pos x="947" y="1049"/>
                </a:cxn>
                <a:cxn ang="0">
                  <a:pos x="482" y="1049"/>
                </a:cxn>
                <a:cxn ang="0">
                  <a:pos x="482" y="1886"/>
                </a:cxn>
                <a:cxn ang="0">
                  <a:pos x="616" y="2083"/>
                </a:cxn>
                <a:cxn ang="0">
                  <a:pos x="9" y="2083"/>
                </a:cxn>
                <a:cxn ang="0">
                  <a:pos x="136" y="1886"/>
                </a:cxn>
                <a:cxn ang="0">
                  <a:pos x="136" y="219"/>
                </a:cxn>
                <a:cxn ang="0">
                  <a:pos x="0" y="0"/>
                </a:cxn>
              </a:cxnLst>
              <a:rect l="0" t="0" r="r" b="b"/>
              <a:pathLst>
                <a:path w="1276" h="2083">
                  <a:moveTo>
                    <a:pt x="0" y="0"/>
                  </a:moveTo>
                  <a:cubicBezTo>
                    <a:pt x="1276" y="0"/>
                    <a:pt x="1276" y="0"/>
                    <a:pt x="1276" y="0"/>
                  </a:cubicBezTo>
                  <a:cubicBezTo>
                    <a:pt x="1276" y="355"/>
                    <a:pt x="1276" y="355"/>
                    <a:pt x="1276" y="355"/>
                  </a:cubicBezTo>
                  <a:cubicBezTo>
                    <a:pt x="1276" y="355"/>
                    <a:pt x="1210" y="215"/>
                    <a:pt x="1072" y="215"/>
                  </a:cubicBezTo>
                  <a:cubicBezTo>
                    <a:pt x="482" y="215"/>
                    <a:pt x="482" y="215"/>
                    <a:pt x="482" y="215"/>
                  </a:cubicBezTo>
                  <a:cubicBezTo>
                    <a:pt x="482" y="828"/>
                    <a:pt x="482" y="828"/>
                    <a:pt x="482" y="828"/>
                  </a:cubicBezTo>
                  <a:cubicBezTo>
                    <a:pt x="1122" y="828"/>
                    <a:pt x="1122" y="828"/>
                    <a:pt x="1122" y="828"/>
                  </a:cubicBezTo>
                  <a:cubicBezTo>
                    <a:pt x="1122" y="1153"/>
                    <a:pt x="1122" y="1153"/>
                    <a:pt x="1122" y="1153"/>
                  </a:cubicBezTo>
                  <a:cubicBezTo>
                    <a:pt x="1122" y="1153"/>
                    <a:pt x="1101" y="1049"/>
                    <a:pt x="947" y="1049"/>
                  </a:cubicBezTo>
                  <a:cubicBezTo>
                    <a:pt x="482" y="1049"/>
                    <a:pt x="482" y="1049"/>
                    <a:pt x="482" y="1049"/>
                  </a:cubicBezTo>
                  <a:cubicBezTo>
                    <a:pt x="482" y="1886"/>
                    <a:pt x="482" y="1886"/>
                    <a:pt x="482" y="1886"/>
                  </a:cubicBezTo>
                  <a:cubicBezTo>
                    <a:pt x="482" y="2010"/>
                    <a:pt x="616" y="2083"/>
                    <a:pt x="616" y="2083"/>
                  </a:cubicBezTo>
                  <a:cubicBezTo>
                    <a:pt x="9" y="2083"/>
                    <a:pt x="9" y="2083"/>
                    <a:pt x="9" y="2083"/>
                  </a:cubicBezTo>
                  <a:cubicBezTo>
                    <a:pt x="9" y="2083"/>
                    <a:pt x="136" y="2019"/>
                    <a:pt x="136" y="1886"/>
                  </a:cubicBezTo>
                  <a:cubicBezTo>
                    <a:pt x="136" y="219"/>
                    <a:pt x="136" y="219"/>
                    <a:pt x="136" y="219"/>
                  </a:cubicBezTo>
                  <a:cubicBezTo>
                    <a:pt x="136" y="7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90" name="Freeform 32"/>
            <p:cNvSpPr>
              <a:spLocks/>
            </p:cNvSpPr>
            <p:nvPr/>
          </p:nvSpPr>
          <p:spPr bwMode="gray">
            <a:xfrm>
              <a:off x="4090988" y="1858963"/>
              <a:ext cx="268288" cy="922338"/>
            </a:xfrm>
            <a:custGeom>
              <a:avLst/>
              <a:gdLst/>
              <a:ahLst/>
              <a:cxnLst>
                <a:cxn ang="0">
                  <a:pos x="193" y="0"/>
                </a:cxn>
                <a:cxn ang="0">
                  <a:pos x="842" y="0"/>
                </a:cxn>
                <a:cxn ang="0">
                  <a:pos x="697" y="181"/>
                </a:cxn>
                <a:cxn ang="0">
                  <a:pos x="697" y="2135"/>
                </a:cxn>
                <a:cxn ang="0">
                  <a:pos x="0" y="2902"/>
                </a:cxn>
                <a:cxn ang="0">
                  <a:pos x="332" y="2135"/>
                </a:cxn>
                <a:cxn ang="0">
                  <a:pos x="332" y="181"/>
                </a:cxn>
                <a:cxn ang="0">
                  <a:pos x="193" y="0"/>
                </a:cxn>
              </a:cxnLst>
              <a:rect l="0" t="0" r="r" b="b"/>
              <a:pathLst>
                <a:path w="842" h="2904">
                  <a:moveTo>
                    <a:pt x="193" y="0"/>
                  </a:moveTo>
                  <a:cubicBezTo>
                    <a:pt x="842" y="0"/>
                    <a:pt x="842" y="0"/>
                    <a:pt x="842" y="0"/>
                  </a:cubicBezTo>
                  <a:cubicBezTo>
                    <a:pt x="842" y="0"/>
                    <a:pt x="697" y="69"/>
                    <a:pt x="697" y="181"/>
                  </a:cubicBezTo>
                  <a:cubicBezTo>
                    <a:pt x="697" y="2135"/>
                    <a:pt x="697" y="2135"/>
                    <a:pt x="697" y="2135"/>
                  </a:cubicBezTo>
                  <a:cubicBezTo>
                    <a:pt x="697" y="2796"/>
                    <a:pt x="34" y="2904"/>
                    <a:pt x="0" y="2902"/>
                  </a:cubicBezTo>
                  <a:cubicBezTo>
                    <a:pt x="56" y="2866"/>
                    <a:pt x="331" y="2631"/>
                    <a:pt x="332" y="2135"/>
                  </a:cubicBezTo>
                  <a:cubicBezTo>
                    <a:pt x="332" y="181"/>
                    <a:pt x="332" y="181"/>
                    <a:pt x="332" y="181"/>
                  </a:cubicBezTo>
                  <a:cubicBezTo>
                    <a:pt x="333" y="76"/>
                    <a:pt x="193" y="0"/>
                    <a:pt x="193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91" name="Freeform 33"/>
            <p:cNvSpPr>
              <a:spLocks/>
            </p:cNvSpPr>
            <p:nvPr/>
          </p:nvSpPr>
          <p:spPr bwMode="gray">
            <a:xfrm>
              <a:off x="4387850" y="1858963"/>
              <a:ext cx="206375" cy="6619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51" y="0"/>
                </a:cxn>
                <a:cxn ang="0">
                  <a:pos x="507" y="184"/>
                </a:cxn>
                <a:cxn ang="0">
                  <a:pos x="507" y="1886"/>
                </a:cxn>
                <a:cxn ang="0">
                  <a:pos x="651" y="2084"/>
                </a:cxn>
                <a:cxn ang="0">
                  <a:pos x="0" y="2084"/>
                </a:cxn>
                <a:cxn ang="0">
                  <a:pos x="145" y="1886"/>
                </a:cxn>
                <a:cxn ang="0">
                  <a:pos x="145" y="184"/>
                </a:cxn>
                <a:cxn ang="0">
                  <a:pos x="0" y="0"/>
                </a:cxn>
              </a:cxnLst>
              <a:rect l="0" t="0" r="r" b="b"/>
              <a:pathLst>
                <a:path w="651" h="2084">
                  <a:moveTo>
                    <a:pt x="0" y="0"/>
                  </a:moveTo>
                  <a:cubicBezTo>
                    <a:pt x="651" y="0"/>
                    <a:pt x="651" y="0"/>
                    <a:pt x="651" y="0"/>
                  </a:cubicBezTo>
                  <a:cubicBezTo>
                    <a:pt x="651" y="0"/>
                    <a:pt x="507" y="69"/>
                    <a:pt x="507" y="184"/>
                  </a:cubicBezTo>
                  <a:cubicBezTo>
                    <a:pt x="507" y="1886"/>
                    <a:pt x="507" y="1886"/>
                    <a:pt x="507" y="1886"/>
                  </a:cubicBezTo>
                  <a:cubicBezTo>
                    <a:pt x="507" y="2008"/>
                    <a:pt x="651" y="2084"/>
                    <a:pt x="651" y="2084"/>
                  </a:cubicBezTo>
                  <a:cubicBezTo>
                    <a:pt x="0" y="2084"/>
                    <a:pt x="0" y="2084"/>
                    <a:pt x="0" y="2084"/>
                  </a:cubicBezTo>
                  <a:cubicBezTo>
                    <a:pt x="0" y="2084"/>
                    <a:pt x="145" y="2008"/>
                    <a:pt x="145" y="1886"/>
                  </a:cubicBezTo>
                  <a:cubicBezTo>
                    <a:pt x="145" y="184"/>
                    <a:pt x="145" y="184"/>
                    <a:pt x="145" y="184"/>
                  </a:cubicBezTo>
                  <a:cubicBezTo>
                    <a:pt x="145" y="6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92" name="Freeform 34"/>
            <p:cNvSpPr>
              <a:spLocks/>
            </p:cNvSpPr>
            <p:nvPr/>
          </p:nvSpPr>
          <p:spPr bwMode="gray">
            <a:xfrm>
              <a:off x="4595813" y="1858963"/>
              <a:ext cx="495300" cy="661988"/>
            </a:xfrm>
            <a:custGeom>
              <a:avLst/>
              <a:gdLst/>
              <a:ahLst/>
              <a:cxnLst>
                <a:cxn ang="0">
                  <a:pos x="127" y="0"/>
                </a:cxn>
                <a:cxn ang="0">
                  <a:pos x="1559" y="0"/>
                </a:cxn>
                <a:cxn ang="0">
                  <a:pos x="1438" y="378"/>
                </a:cxn>
                <a:cxn ang="0">
                  <a:pos x="1263" y="219"/>
                </a:cxn>
                <a:cxn ang="0">
                  <a:pos x="966" y="219"/>
                </a:cxn>
                <a:cxn ang="0">
                  <a:pos x="966" y="1886"/>
                </a:cxn>
                <a:cxn ang="0">
                  <a:pos x="1106" y="2083"/>
                </a:cxn>
                <a:cxn ang="0">
                  <a:pos x="468" y="2083"/>
                </a:cxn>
                <a:cxn ang="0">
                  <a:pos x="606" y="1886"/>
                </a:cxn>
                <a:cxn ang="0">
                  <a:pos x="606" y="219"/>
                </a:cxn>
                <a:cxn ang="0">
                  <a:pos x="248" y="219"/>
                </a:cxn>
                <a:cxn ang="0">
                  <a:pos x="0" y="410"/>
                </a:cxn>
                <a:cxn ang="0">
                  <a:pos x="127" y="0"/>
                </a:cxn>
              </a:cxnLst>
              <a:rect l="0" t="0" r="r" b="b"/>
              <a:pathLst>
                <a:path w="1559" h="2083">
                  <a:moveTo>
                    <a:pt x="127" y="0"/>
                  </a:moveTo>
                  <a:cubicBezTo>
                    <a:pt x="1559" y="0"/>
                    <a:pt x="1559" y="0"/>
                    <a:pt x="1559" y="0"/>
                  </a:cubicBezTo>
                  <a:cubicBezTo>
                    <a:pt x="1438" y="378"/>
                    <a:pt x="1438" y="378"/>
                    <a:pt x="1438" y="378"/>
                  </a:cubicBezTo>
                  <a:cubicBezTo>
                    <a:pt x="1438" y="378"/>
                    <a:pt x="1401" y="219"/>
                    <a:pt x="1263" y="219"/>
                  </a:cubicBezTo>
                  <a:cubicBezTo>
                    <a:pt x="966" y="219"/>
                    <a:pt x="966" y="219"/>
                    <a:pt x="966" y="219"/>
                  </a:cubicBezTo>
                  <a:cubicBezTo>
                    <a:pt x="966" y="1886"/>
                    <a:pt x="966" y="1886"/>
                    <a:pt x="966" y="1886"/>
                  </a:cubicBezTo>
                  <a:cubicBezTo>
                    <a:pt x="966" y="1991"/>
                    <a:pt x="1106" y="2083"/>
                    <a:pt x="1106" y="2083"/>
                  </a:cubicBezTo>
                  <a:cubicBezTo>
                    <a:pt x="468" y="2083"/>
                    <a:pt x="468" y="2083"/>
                    <a:pt x="468" y="2083"/>
                  </a:cubicBezTo>
                  <a:cubicBezTo>
                    <a:pt x="468" y="2083"/>
                    <a:pt x="606" y="2000"/>
                    <a:pt x="606" y="1886"/>
                  </a:cubicBezTo>
                  <a:cubicBezTo>
                    <a:pt x="606" y="219"/>
                    <a:pt x="606" y="219"/>
                    <a:pt x="606" y="219"/>
                  </a:cubicBezTo>
                  <a:cubicBezTo>
                    <a:pt x="248" y="219"/>
                    <a:pt x="248" y="219"/>
                    <a:pt x="248" y="219"/>
                  </a:cubicBezTo>
                  <a:cubicBezTo>
                    <a:pt x="146" y="219"/>
                    <a:pt x="0" y="410"/>
                    <a:pt x="0" y="410"/>
                  </a:cubicBezTo>
                  <a:lnTo>
                    <a:pt x="127" y="0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93" name="Freeform 35"/>
            <p:cNvSpPr>
              <a:spLocks/>
            </p:cNvSpPr>
            <p:nvPr/>
          </p:nvSpPr>
          <p:spPr bwMode="gray">
            <a:xfrm>
              <a:off x="5495925" y="1858963"/>
              <a:ext cx="554038" cy="671513"/>
            </a:xfrm>
            <a:custGeom>
              <a:avLst/>
              <a:gdLst/>
              <a:ahLst/>
              <a:cxnLst>
                <a:cxn ang="0">
                  <a:pos x="1116" y="0"/>
                </a:cxn>
                <a:cxn ang="0">
                  <a:pos x="1743" y="0"/>
                </a:cxn>
                <a:cxn ang="0">
                  <a:pos x="1609" y="184"/>
                </a:cxn>
                <a:cxn ang="0">
                  <a:pos x="1609" y="1445"/>
                </a:cxn>
                <a:cxn ang="0">
                  <a:pos x="889" y="2115"/>
                </a:cxn>
                <a:cxn ang="0">
                  <a:pos x="138" y="1445"/>
                </a:cxn>
                <a:cxn ang="0">
                  <a:pos x="138" y="184"/>
                </a:cxn>
                <a:cxn ang="0">
                  <a:pos x="0" y="0"/>
                </a:cxn>
                <a:cxn ang="0">
                  <a:pos x="645" y="0"/>
                </a:cxn>
                <a:cxn ang="0">
                  <a:pos x="502" y="184"/>
                </a:cxn>
                <a:cxn ang="0">
                  <a:pos x="502" y="1445"/>
                </a:cxn>
                <a:cxn ang="0">
                  <a:pos x="889" y="1890"/>
                </a:cxn>
                <a:cxn ang="0">
                  <a:pos x="1258" y="1445"/>
                </a:cxn>
                <a:cxn ang="0">
                  <a:pos x="1258" y="184"/>
                </a:cxn>
                <a:cxn ang="0">
                  <a:pos x="1116" y="0"/>
                </a:cxn>
              </a:cxnLst>
              <a:rect l="0" t="0" r="r" b="b"/>
              <a:pathLst>
                <a:path w="1743" h="2115">
                  <a:moveTo>
                    <a:pt x="1116" y="0"/>
                  </a:moveTo>
                  <a:cubicBezTo>
                    <a:pt x="1743" y="0"/>
                    <a:pt x="1743" y="0"/>
                    <a:pt x="1743" y="0"/>
                  </a:cubicBezTo>
                  <a:cubicBezTo>
                    <a:pt x="1743" y="0"/>
                    <a:pt x="1609" y="71"/>
                    <a:pt x="1609" y="184"/>
                  </a:cubicBezTo>
                  <a:cubicBezTo>
                    <a:pt x="1609" y="1445"/>
                    <a:pt x="1609" y="1445"/>
                    <a:pt x="1609" y="1445"/>
                  </a:cubicBezTo>
                  <a:cubicBezTo>
                    <a:pt x="1608" y="1957"/>
                    <a:pt x="1183" y="2115"/>
                    <a:pt x="889" y="2115"/>
                  </a:cubicBezTo>
                  <a:cubicBezTo>
                    <a:pt x="596" y="2115"/>
                    <a:pt x="138" y="1955"/>
                    <a:pt x="138" y="1445"/>
                  </a:cubicBezTo>
                  <a:cubicBezTo>
                    <a:pt x="138" y="184"/>
                    <a:pt x="138" y="184"/>
                    <a:pt x="138" y="184"/>
                  </a:cubicBezTo>
                  <a:cubicBezTo>
                    <a:pt x="139" y="71"/>
                    <a:pt x="0" y="0"/>
                    <a:pt x="0" y="0"/>
                  </a:cubicBezTo>
                  <a:cubicBezTo>
                    <a:pt x="645" y="0"/>
                    <a:pt x="645" y="0"/>
                    <a:pt x="645" y="0"/>
                  </a:cubicBezTo>
                  <a:cubicBezTo>
                    <a:pt x="645" y="0"/>
                    <a:pt x="502" y="69"/>
                    <a:pt x="502" y="184"/>
                  </a:cubicBezTo>
                  <a:cubicBezTo>
                    <a:pt x="502" y="1445"/>
                    <a:pt x="502" y="1445"/>
                    <a:pt x="502" y="1445"/>
                  </a:cubicBezTo>
                  <a:cubicBezTo>
                    <a:pt x="502" y="1714"/>
                    <a:pt x="680" y="1890"/>
                    <a:pt x="889" y="1890"/>
                  </a:cubicBezTo>
                  <a:cubicBezTo>
                    <a:pt x="1098" y="1890"/>
                    <a:pt x="1257" y="1707"/>
                    <a:pt x="1258" y="1445"/>
                  </a:cubicBezTo>
                  <a:cubicBezTo>
                    <a:pt x="1258" y="184"/>
                    <a:pt x="1258" y="184"/>
                    <a:pt x="1258" y="184"/>
                  </a:cubicBezTo>
                  <a:cubicBezTo>
                    <a:pt x="1258" y="71"/>
                    <a:pt x="1116" y="0"/>
                    <a:pt x="1116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94" name="Freeform 36"/>
            <p:cNvSpPr>
              <a:spLocks/>
            </p:cNvSpPr>
            <p:nvPr/>
          </p:nvSpPr>
          <p:spPr bwMode="gray">
            <a:xfrm>
              <a:off x="3557588" y="1858963"/>
              <a:ext cx="558800" cy="673100"/>
            </a:xfrm>
            <a:custGeom>
              <a:avLst/>
              <a:gdLst/>
              <a:ahLst/>
              <a:cxnLst>
                <a:cxn ang="0">
                  <a:pos x="1122" y="0"/>
                </a:cxn>
                <a:cxn ang="0">
                  <a:pos x="1760" y="0"/>
                </a:cxn>
                <a:cxn ang="0">
                  <a:pos x="1625" y="186"/>
                </a:cxn>
                <a:cxn ang="0">
                  <a:pos x="1624" y="1444"/>
                </a:cxn>
                <a:cxn ang="0">
                  <a:pos x="882" y="2120"/>
                </a:cxn>
                <a:cxn ang="0">
                  <a:pos x="131" y="1444"/>
                </a:cxn>
                <a:cxn ang="0">
                  <a:pos x="130" y="186"/>
                </a:cxn>
                <a:cxn ang="0">
                  <a:pos x="0" y="0"/>
                </a:cxn>
                <a:cxn ang="0">
                  <a:pos x="645" y="0"/>
                </a:cxn>
                <a:cxn ang="0">
                  <a:pos x="496" y="186"/>
                </a:cxn>
                <a:cxn ang="0">
                  <a:pos x="495" y="1444"/>
                </a:cxn>
                <a:cxn ang="0">
                  <a:pos x="882" y="1895"/>
                </a:cxn>
                <a:cxn ang="0">
                  <a:pos x="1258" y="1444"/>
                </a:cxn>
                <a:cxn ang="0">
                  <a:pos x="1259" y="186"/>
                </a:cxn>
                <a:cxn ang="0">
                  <a:pos x="1122" y="0"/>
                </a:cxn>
              </a:cxnLst>
              <a:rect l="0" t="0" r="r" b="b"/>
              <a:pathLst>
                <a:path w="1760" h="2120">
                  <a:moveTo>
                    <a:pt x="1122" y="0"/>
                  </a:moveTo>
                  <a:cubicBezTo>
                    <a:pt x="1760" y="0"/>
                    <a:pt x="1760" y="0"/>
                    <a:pt x="1760" y="0"/>
                  </a:cubicBezTo>
                  <a:cubicBezTo>
                    <a:pt x="1760" y="0"/>
                    <a:pt x="1625" y="74"/>
                    <a:pt x="1625" y="186"/>
                  </a:cubicBezTo>
                  <a:cubicBezTo>
                    <a:pt x="1625" y="186"/>
                    <a:pt x="1624" y="1444"/>
                    <a:pt x="1624" y="1444"/>
                  </a:cubicBezTo>
                  <a:cubicBezTo>
                    <a:pt x="1624" y="1959"/>
                    <a:pt x="1179" y="2120"/>
                    <a:pt x="882" y="2120"/>
                  </a:cubicBezTo>
                  <a:cubicBezTo>
                    <a:pt x="589" y="2120"/>
                    <a:pt x="131" y="1956"/>
                    <a:pt x="131" y="1444"/>
                  </a:cubicBezTo>
                  <a:cubicBezTo>
                    <a:pt x="130" y="186"/>
                    <a:pt x="130" y="186"/>
                    <a:pt x="130" y="186"/>
                  </a:cubicBezTo>
                  <a:cubicBezTo>
                    <a:pt x="130" y="73"/>
                    <a:pt x="0" y="0"/>
                    <a:pt x="0" y="0"/>
                  </a:cubicBezTo>
                  <a:cubicBezTo>
                    <a:pt x="645" y="0"/>
                    <a:pt x="645" y="0"/>
                    <a:pt x="645" y="0"/>
                  </a:cubicBezTo>
                  <a:cubicBezTo>
                    <a:pt x="645" y="0"/>
                    <a:pt x="496" y="73"/>
                    <a:pt x="496" y="186"/>
                  </a:cubicBezTo>
                  <a:cubicBezTo>
                    <a:pt x="495" y="1444"/>
                    <a:pt x="495" y="1444"/>
                    <a:pt x="495" y="1444"/>
                  </a:cubicBezTo>
                  <a:cubicBezTo>
                    <a:pt x="495" y="1710"/>
                    <a:pt x="673" y="1894"/>
                    <a:pt x="882" y="1895"/>
                  </a:cubicBezTo>
                  <a:cubicBezTo>
                    <a:pt x="1091" y="1896"/>
                    <a:pt x="1258" y="1708"/>
                    <a:pt x="1258" y="1444"/>
                  </a:cubicBezTo>
                  <a:cubicBezTo>
                    <a:pt x="1259" y="186"/>
                    <a:pt x="1259" y="186"/>
                    <a:pt x="1259" y="186"/>
                  </a:cubicBezTo>
                  <a:cubicBezTo>
                    <a:pt x="1259" y="73"/>
                    <a:pt x="1122" y="0"/>
                    <a:pt x="1122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95" name="Freeform 37"/>
            <p:cNvSpPr>
              <a:spLocks/>
            </p:cNvSpPr>
            <p:nvPr/>
          </p:nvSpPr>
          <p:spPr bwMode="gray">
            <a:xfrm>
              <a:off x="5068888" y="1844675"/>
              <a:ext cx="425450" cy="687388"/>
            </a:xfrm>
            <a:custGeom>
              <a:avLst/>
              <a:gdLst/>
              <a:ahLst/>
              <a:cxnLst>
                <a:cxn ang="0">
                  <a:pos x="1152" y="375"/>
                </a:cxn>
                <a:cxn ang="0">
                  <a:pos x="800" y="216"/>
                </a:cxn>
                <a:cxn ang="0">
                  <a:pos x="396" y="531"/>
                </a:cxn>
                <a:cxn ang="0">
                  <a:pos x="782" y="922"/>
                </a:cxn>
                <a:cxn ang="0">
                  <a:pos x="1340" y="1550"/>
                </a:cxn>
                <a:cxn ang="0">
                  <a:pos x="511" y="2163"/>
                </a:cxn>
                <a:cxn ang="0">
                  <a:pos x="121" y="2109"/>
                </a:cxn>
                <a:cxn ang="0">
                  <a:pos x="0" y="1709"/>
                </a:cxn>
                <a:cxn ang="0">
                  <a:pos x="517" y="1936"/>
                </a:cxn>
                <a:cxn ang="0">
                  <a:pos x="983" y="1594"/>
                </a:cxn>
                <a:cxn ang="0">
                  <a:pos x="36" y="573"/>
                </a:cxn>
                <a:cxn ang="0">
                  <a:pos x="765" y="0"/>
                </a:cxn>
                <a:cxn ang="0">
                  <a:pos x="1153" y="53"/>
                </a:cxn>
                <a:cxn ang="0">
                  <a:pos x="1152" y="375"/>
                </a:cxn>
              </a:cxnLst>
              <a:rect l="0" t="0" r="r" b="b"/>
              <a:pathLst>
                <a:path w="1341" h="2163">
                  <a:moveTo>
                    <a:pt x="1152" y="375"/>
                  </a:moveTo>
                  <a:cubicBezTo>
                    <a:pt x="1152" y="375"/>
                    <a:pt x="1062" y="217"/>
                    <a:pt x="800" y="216"/>
                  </a:cubicBezTo>
                  <a:cubicBezTo>
                    <a:pt x="539" y="215"/>
                    <a:pt x="396" y="353"/>
                    <a:pt x="396" y="531"/>
                  </a:cubicBezTo>
                  <a:cubicBezTo>
                    <a:pt x="395" y="733"/>
                    <a:pt x="547" y="809"/>
                    <a:pt x="782" y="922"/>
                  </a:cubicBezTo>
                  <a:cubicBezTo>
                    <a:pt x="1005" y="1029"/>
                    <a:pt x="1341" y="1177"/>
                    <a:pt x="1340" y="1550"/>
                  </a:cubicBezTo>
                  <a:cubicBezTo>
                    <a:pt x="1339" y="1884"/>
                    <a:pt x="1042" y="2163"/>
                    <a:pt x="511" y="2163"/>
                  </a:cubicBezTo>
                  <a:cubicBezTo>
                    <a:pt x="347" y="2163"/>
                    <a:pt x="121" y="2109"/>
                    <a:pt x="121" y="2109"/>
                  </a:cubicBezTo>
                  <a:cubicBezTo>
                    <a:pt x="0" y="1709"/>
                    <a:pt x="0" y="1709"/>
                    <a:pt x="0" y="1709"/>
                  </a:cubicBezTo>
                  <a:cubicBezTo>
                    <a:pt x="112" y="1819"/>
                    <a:pt x="312" y="1936"/>
                    <a:pt x="517" y="1936"/>
                  </a:cubicBezTo>
                  <a:cubicBezTo>
                    <a:pt x="729" y="1936"/>
                    <a:pt x="983" y="1805"/>
                    <a:pt x="983" y="1594"/>
                  </a:cubicBezTo>
                  <a:cubicBezTo>
                    <a:pt x="983" y="1187"/>
                    <a:pt x="36" y="1255"/>
                    <a:pt x="36" y="573"/>
                  </a:cubicBezTo>
                  <a:cubicBezTo>
                    <a:pt x="36" y="339"/>
                    <a:pt x="199" y="0"/>
                    <a:pt x="765" y="0"/>
                  </a:cubicBezTo>
                  <a:cubicBezTo>
                    <a:pt x="948" y="0"/>
                    <a:pt x="1153" y="53"/>
                    <a:pt x="1153" y="53"/>
                  </a:cubicBezTo>
                  <a:lnTo>
                    <a:pt x="1152" y="375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</p:grpSp>
      <p:pic>
        <p:nvPicPr>
          <p:cNvPr id="41" name="Picture 2" descr="Fujitsu_Logo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455510" y="1309687"/>
            <a:ext cx="4202009" cy="2100264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9980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4" name="Picture 79" descr="TitleRed_24_L150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gray">
          <a:xfrm>
            <a:off x="0" y="0"/>
            <a:ext cx="9144000" cy="3730625"/>
          </a:xfrm>
          <a:prstGeom prst="rect">
            <a:avLst/>
          </a:prstGeom>
          <a:noFill/>
        </p:spPr>
      </p:pic>
      <p:grpSp>
        <p:nvGrpSpPr>
          <p:cNvPr id="50" name="Group 49"/>
          <p:cNvGrpSpPr>
            <a:grpSpLocks noChangeAspect="1"/>
          </p:cNvGrpSpPr>
          <p:nvPr userDrawn="1"/>
        </p:nvGrpSpPr>
        <p:grpSpPr bwMode="gray">
          <a:xfrm>
            <a:off x="7606538" y="114300"/>
            <a:ext cx="1418400" cy="792555"/>
            <a:chOff x="7324408" y="0"/>
            <a:chExt cx="1647825" cy="920750"/>
          </a:xfrm>
        </p:grpSpPr>
        <p:sp>
          <p:nvSpPr>
            <p:cNvPr id="51" name="AutoShape 48"/>
            <p:cNvSpPr>
              <a:spLocks noChangeAspect="1" noChangeArrowheads="1" noTextEdit="1"/>
            </p:cNvSpPr>
            <p:nvPr userDrawn="1"/>
          </p:nvSpPr>
          <p:spPr bwMode="gray">
            <a:xfrm>
              <a:off x="7324408" y="0"/>
              <a:ext cx="1647825" cy="9207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52" name="Freeform 49"/>
            <p:cNvSpPr>
              <a:spLocks/>
            </p:cNvSpPr>
            <p:nvPr userDrawn="1"/>
          </p:nvSpPr>
          <p:spPr bwMode="gray">
            <a:xfrm>
              <a:off x="7405371" y="773113"/>
              <a:ext cx="41275" cy="68263"/>
            </a:xfrm>
            <a:custGeom>
              <a:avLst/>
              <a:gdLst/>
              <a:ahLst/>
              <a:cxnLst>
                <a:cxn ang="0">
                  <a:pos x="0" y="731"/>
                </a:cxn>
                <a:cxn ang="0">
                  <a:pos x="0" y="643"/>
                </a:cxn>
                <a:cxn ang="0">
                  <a:pos x="177" y="684"/>
                </a:cxn>
                <a:cxn ang="0">
                  <a:pos x="355" y="568"/>
                </a:cxn>
                <a:cxn ang="0">
                  <a:pos x="325" y="493"/>
                </a:cxn>
                <a:cxn ang="0">
                  <a:pos x="271" y="452"/>
                </a:cxn>
                <a:cxn ang="0">
                  <a:pos x="203" y="417"/>
                </a:cxn>
                <a:cxn ang="0">
                  <a:pos x="62" y="323"/>
                </a:cxn>
                <a:cxn ang="0">
                  <a:pos x="12" y="190"/>
                </a:cxn>
                <a:cxn ang="0">
                  <a:pos x="90" y="41"/>
                </a:cxn>
                <a:cxn ang="0">
                  <a:pos x="257" y="0"/>
                </a:cxn>
                <a:cxn ang="0">
                  <a:pos x="411" y="24"/>
                </a:cxn>
                <a:cxn ang="0">
                  <a:pos x="411" y="106"/>
                </a:cxn>
                <a:cxn ang="0">
                  <a:pos x="262" y="74"/>
                </a:cxn>
                <a:cxn ang="0">
                  <a:pos x="162" y="98"/>
                </a:cxn>
                <a:cxn ang="0">
                  <a:pos x="120" y="178"/>
                </a:cxn>
                <a:cxn ang="0">
                  <a:pos x="149" y="253"/>
                </a:cxn>
                <a:cxn ang="0">
                  <a:pos x="273" y="331"/>
                </a:cxn>
                <a:cxn ang="0">
                  <a:pos x="374" y="388"/>
                </a:cxn>
                <a:cxn ang="0">
                  <a:pos x="444" y="465"/>
                </a:cxn>
                <a:cxn ang="0">
                  <a:pos x="463" y="556"/>
                </a:cxn>
                <a:cxn ang="0">
                  <a:pos x="184" y="762"/>
                </a:cxn>
                <a:cxn ang="0">
                  <a:pos x="0" y="731"/>
                </a:cxn>
              </a:cxnLst>
              <a:rect l="0" t="0" r="r" b="b"/>
              <a:pathLst>
                <a:path w="463" h="762">
                  <a:moveTo>
                    <a:pt x="0" y="731"/>
                  </a:moveTo>
                  <a:cubicBezTo>
                    <a:pt x="0" y="643"/>
                    <a:pt x="0" y="643"/>
                    <a:pt x="0" y="643"/>
                  </a:cubicBezTo>
                  <a:cubicBezTo>
                    <a:pt x="48" y="670"/>
                    <a:pt x="107" y="684"/>
                    <a:pt x="177" y="684"/>
                  </a:cubicBezTo>
                  <a:cubicBezTo>
                    <a:pt x="296" y="684"/>
                    <a:pt x="355" y="645"/>
                    <a:pt x="355" y="568"/>
                  </a:cubicBezTo>
                  <a:cubicBezTo>
                    <a:pt x="355" y="538"/>
                    <a:pt x="345" y="513"/>
                    <a:pt x="325" y="493"/>
                  </a:cubicBezTo>
                  <a:cubicBezTo>
                    <a:pt x="309" y="477"/>
                    <a:pt x="291" y="463"/>
                    <a:pt x="271" y="452"/>
                  </a:cubicBezTo>
                  <a:cubicBezTo>
                    <a:pt x="253" y="442"/>
                    <a:pt x="231" y="431"/>
                    <a:pt x="203" y="417"/>
                  </a:cubicBezTo>
                  <a:cubicBezTo>
                    <a:pt x="135" y="384"/>
                    <a:pt x="89" y="352"/>
                    <a:pt x="62" y="323"/>
                  </a:cubicBezTo>
                  <a:cubicBezTo>
                    <a:pt x="29" y="286"/>
                    <a:pt x="12" y="242"/>
                    <a:pt x="12" y="190"/>
                  </a:cubicBezTo>
                  <a:cubicBezTo>
                    <a:pt x="12" y="124"/>
                    <a:pt x="38" y="74"/>
                    <a:pt x="90" y="41"/>
                  </a:cubicBezTo>
                  <a:cubicBezTo>
                    <a:pt x="134" y="13"/>
                    <a:pt x="189" y="0"/>
                    <a:pt x="257" y="0"/>
                  </a:cubicBezTo>
                  <a:cubicBezTo>
                    <a:pt x="304" y="0"/>
                    <a:pt x="355" y="8"/>
                    <a:pt x="411" y="24"/>
                  </a:cubicBezTo>
                  <a:cubicBezTo>
                    <a:pt x="411" y="106"/>
                    <a:pt x="411" y="106"/>
                    <a:pt x="411" y="106"/>
                  </a:cubicBezTo>
                  <a:cubicBezTo>
                    <a:pt x="364" y="85"/>
                    <a:pt x="314" y="74"/>
                    <a:pt x="262" y="74"/>
                  </a:cubicBezTo>
                  <a:cubicBezTo>
                    <a:pt x="222" y="74"/>
                    <a:pt x="188" y="82"/>
                    <a:pt x="162" y="98"/>
                  </a:cubicBezTo>
                  <a:cubicBezTo>
                    <a:pt x="134" y="115"/>
                    <a:pt x="120" y="141"/>
                    <a:pt x="120" y="178"/>
                  </a:cubicBezTo>
                  <a:cubicBezTo>
                    <a:pt x="120" y="209"/>
                    <a:pt x="130" y="234"/>
                    <a:pt x="149" y="253"/>
                  </a:cubicBezTo>
                  <a:cubicBezTo>
                    <a:pt x="168" y="273"/>
                    <a:pt x="209" y="298"/>
                    <a:pt x="273" y="331"/>
                  </a:cubicBezTo>
                  <a:cubicBezTo>
                    <a:pt x="324" y="356"/>
                    <a:pt x="357" y="375"/>
                    <a:pt x="374" y="388"/>
                  </a:cubicBezTo>
                  <a:cubicBezTo>
                    <a:pt x="407" y="412"/>
                    <a:pt x="430" y="437"/>
                    <a:pt x="444" y="465"/>
                  </a:cubicBezTo>
                  <a:cubicBezTo>
                    <a:pt x="457" y="490"/>
                    <a:pt x="463" y="520"/>
                    <a:pt x="463" y="556"/>
                  </a:cubicBezTo>
                  <a:cubicBezTo>
                    <a:pt x="463" y="693"/>
                    <a:pt x="370" y="762"/>
                    <a:pt x="184" y="762"/>
                  </a:cubicBezTo>
                  <a:cubicBezTo>
                    <a:pt x="109" y="762"/>
                    <a:pt x="48" y="752"/>
                    <a:pt x="0" y="73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53" name="Freeform 50"/>
            <p:cNvSpPr>
              <a:spLocks/>
            </p:cNvSpPr>
            <p:nvPr userDrawn="1"/>
          </p:nvSpPr>
          <p:spPr bwMode="gray">
            <a:xfrm>
              <a:off x="7462521" y="742950"/>
              <a:ext cx="47625" cy="96838"/>
            </a:xfrm>
            <a:custGeom>
              <a:avLst/>
              <a:gdLst/>
              <a:ahLst/>
              <a:cxnLst>
                <a:cxn ang="0">
                  <a:pos x="0" y="1087"/>
                </a:cxn>
                <a:cxn ang="0">
                  <a:pos x="0" y="0"/>
                </a:cxn>
                <a:cxn ang="0">
                  <a:pos x="124" y="0"/>
                </a:cxn>
                <a:cxn ang="0">
                  <a:pos x="124" y="382"/>
                </a:cxn>
                <a:cxn ang="0">
                  <a:pos x="306" y="345"/>
                </a:cxn>
                <a:cxn ang="0">
                  <a:pos x="526" y="458"/>
                </a:cxn>
                <a:cxn ang="0">
                  <a:pos x="548" y="644"/>
                </a:cxn>
                <a:cxn ang="0">
                  <a:pos x="548" y="1087"/>
                </a:cxn>
                <a:cxn ang="0">
                  <a:pos x="425" y="1087"/>
                </a:cxn>
                <a:cxn ang="0">
                  <a:pos x="425" y="624"/>
                </a:cxn>
                <a:cxn ang="0">
                  <a:pos x="403" y="477"/>
                </a:cxn>
                <a:cxn ang="0">
                  <a:pos x="294" y="419"/>
                </a:cxn>
                <a:cxn ang="0">
                  <a:pos x="124" y="463"/>
                </a:cxn>
                <a:cxn ang="0">
                  <a:pos x="124" y="1087"/>
                </a:cxn>
                <a:cxn ang="0">
                  <a:pos x="0" y="1087"/>
                </a:cxn>
              </a:cxnLst>
              <a:rect l="0" t="0" r="r" b="b"/>
              <a:pathLst>
                <a:path w="548" h="1087">
                  <a:moveTo>
                    <a:pt x="0" y="108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24" y="382"/>
                    <a:pt x="124" y="382"/>
                    <a:pt x="124" y="382"/>
                  </a:cubicBezTo>
                  <a:cubicBezTo>
                    <a:pt x="188" y="357"/>
                    <a:pt x="249" y="345"/>
                    <a:pt x="306" y="345"/>
                  </a:cubicBezTo>
                  <a:cubicBezTo>
                    <a:pt x="420" y="345"/>
                    <a:pt x="493" y="382"/>
                    <a:pt x="526" y="458"/>
                  </a:cubicBezTo>
                  <a:cubicBezTo>
                    <a:pt x="541" y="492"/>
                    <a:pt x="548" y="554"/>
                    <a:pt x="548" y="644"/>
                  </a:cubicBezTo>
                  <a:cubicBezTo>
                    <a:pt x="548" y="1087"/>
                    <a:pt x="548" y="1087"/>
                    <a:pt x="548" y="1087"/>
                  </a:cubicBezTo>
                  <a:cubicBezTo>
                    <a:pt x="425" y="1087"/>
                    <a:pt x="425" y="1087"/>
                    <a:pt x="425" y="1087"/>
                  </a:cubicBezTo>
                  <a:cubicBezTo>
                    <a:pt x="425" y="624"/>
                    <a:pt x="425" y="624"/>
                    <a:pt x="425" y="624"/>
                  </a:cubicBezTo>
                  <a:cubicBezTo>
                    <a:pt x="425" y="555"/>
                    <a:pt x="418" y="506"/>
                    <a:pt x="403" y="477"/>
                  </a:cubicBezTo>
                  <a:cubicBezTo>
                    <a:pt x="384" y="439"/>
                    <a:pt x="347" y="419"/>
                    <a:pt x="294" y="419"/>
                  </a:cubicBezTo>
                  <a:cubicBezTo>
                    <a:pt x="245" y="419"/>
                    <a:pt x="189" y="434"/>
                    <a:pt x="124" y="463"/>
                  </a:cubicBezTo>
                  <a:cubicBezTo>
                    <a:pt x="124" y="1087"/>
                    <a:pt x="124" y="1087"/>
                    <a:pt x="124" y="1087"/>
                  </a:cubicBezTo>
                  <a:lnTo>
                    <a:pt x="0" y="10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54" name="Freeform 51"/>
            <p:cNvSpPr>
              <a:spLocks noEditPoints="1"/>
            </p:cNvSpPr>
            <p:nvPr userDrawn="1"/>
          </p:nvSpPr>
          <p:spPr bwMode="gray">
            <a:xfrm>
              <a:off x="7524433" y="773113"/>
              <a:ext cx="50800" cy="68263"/>
            </a:xfrm>
            <a:custGeom>
              <a:avLst/>
              <a:gdLst/>
              <a:ahLst/>
              <a:cxnLst>
                <a:cxn ang="0">
                  <a:pos x="437" y="286"/>
                </a:cxn>
                <a:cxn ang="0">
                  <a:pos x="437" y="248"/>
                </a:cxn>
                <a:cxn ang="0">
                  <a:pos x="415" y="138"/>
                </a:cxn>
                <a:cxn ang="0">
                  <a:pos x="271" y="77"/>
                </a:cxn>
                <a:cxn ang="0">
                  <a:pos x="70" y="118"/>
                </a:cxn>
                <a:cxn ang="0">
                  <a:pos x="70" y="31"/>
                </a:cxn>
                <a:cxn ang="0">
                  <a:pos x="284" y="0"/>
                </a:cxn>
                <a:cxn ang="0">
                  <a:pos x="516" y="76"/>
                </a:cxn>
                <a:cxn ang="0">
                  <a:pos x="558" y="200"/>
                </a:cxn>
                <a:cxn ang="0">
                  <a:pos x="561" y="290"/>
                </a:cxn>
                <a:cxn ang="0">
                  <a:pos x="561" y="727"/>
                </a:cxn>
                <a:cxn ang="0">
                  <a:pos x="293" y="762"/>
                </a:cxn>
                <a:cxn ang="0">
                  <a:pos x="83" y="720"/>
                </a:cxn>
                <a:cxn ang="0">
                  <a:pos x="0" y="558"/>
                </a:cxn>
                <a:cxn ang="0">
                  <a:pos x="96" y="363"/>
                </a:cxn>
                <a:cxn ang="0">
                  <a:pos x="336" y="297"/>
                </a:cxn>
                <a:cxn ang="0">
                  <a:pos x="437" y="286"/>
                </a:cxn>
                <a:cxn ang="0">
                  <a:pos x="437" y="356"/>
                </a:cxn>
                <a:cxn ang="0">
                  <a:pos x="267" y="382"/>
                </a:cxn>
                <a:cxn ang="0">
                  <a:pos x="127" y="545"/>
                </a:cxn>
                <a:cxn ang="0">
                  <a:pos x="168" y="650"/>
                </a:cxn>
                <a:cxn ang="0">
                  <a:pos x="312" y="687"/>
                </a:cxn>
                <a:cxn ang="0">
                  <a:pos x="437" y="670"/>
                </a:cxn>
                <a:cxn ang="0">
                  <a:pos x="437" y="356"/>
                </a:cxn>
              </a:cxnLst>
              <a:rect l="0" t="0" r="r" b="b"/>
              <a:pathLst>
                <a:path w="561" h="762">
                  <a:moveTo>
                    <a:pt x="437" y="286"/>
                  </a:moveTo>
                  <a:cubicBezTo>
                    <a:pt x="437" y="248"/>
                    <a:pt x="437" y="248"/>
                    <a:pt x="437" y="248"/>
                  </a:cubicBezTo>
                  <a:cubicBezTo>
                    <a:pt x="437" y="200"/>
                    <a:pt x="430" y="164"/>
                    <a:pt x="415" y="138"/>
                  </a:cubicBezTo>
                  <a:cubicBezTo>
                    <a:pt x="392" y="97"/>
                    <a:pt x="344" y="77"/>
                    <a:pt x="271" y="77"/>
                  </a:cubicBezTo>
                  <a:cubicBezTo>
                    <a:pt x="206" y="77"/>
                    <a:pt x="139" y="91"/>
                    <a:pt x="70" y="118"/>
                  </a:cubicBezTo>
                  <a:cubicBezTo>
                    <a:pt x="70" y="31"/>
                    <a:pt x="70" y="31"/>
                    <a:pt x="70" y="31"/>
                  </a:cubicBezTo>
                  <a:cubicBezTo>
                    <a:pt x="139" y="10"/>
                    <a:pt x="210" y="0"/>
                    <a:pt x="284" y="0"/>
                  </a:cubicBezTo>
                  <a:cubicBezTo>
                    <a:pt x="397" y="0"/>
                    <a:pt x="474" y="25"/>
                    <a:pt x="516" y="76"/>
                  </a:cubicBezTo>
                  <a:cubicBezTo>
                    <a:pt x="539" y="104"/>
                    <a:pt x="553" y="145"/>
                    <a:pt x="558" y="200"/>
                  </a:cubicBezTo>
                  <a:cubicBezTo>
                    <a:pt x="560" y="220"/>
                    <a:pt x="561" y="250"/>
                    <a:pt x="561" y="290"/>
                  </a:cubicBezTo>
                  <a:cubicBezTo>
                    <a:pt x="561" y="727"/>
                    <a:pt x="561" y="727"/>
                    <a:pt x="561" y="727"/>
                  </a:cubicBezTo>
                  <a:cubicBezTo>
                    <a:pt x="477" y="750"/>
                    <a:pt x="387" y="762"/>
                    <a:pt x="293" y="762"/>
                  </a:cubicBezTo>
                  <a:cubicBezTo>
                    <a:pt x="203" y="762"/>
                    <a:pt x="133" y="748"/>
                    <a:pt x="83" y="720"/>
                  </a:cubicBezTo>
                  <a:cubicBezTo>
                    <a:pt x="28" y="689"/>
                    <a:pt x="0" y="635"/>
                    <a:pt x="0" y="558"/>
                  </a:cubicBezTo>
                  <a:cubicBezTo>
                    <a:pt x="0" y="470"/>
                    <a:pt x="32" y="405"/>
                    <a:pt x="96" y="363"/>
                  </a:cubicBezTo>
                  <a:cubicBezTo>
                    <a:pt x="143" y="332"/>
                    <a:pt x="223" y="310"/>
                    <a:pt x="336" y="297"/>
                  </a:cubicBezTo>
                  <a:cubicBezTo>
                    <a:pt x="357" y="294"/>
                    <a:pt x="391" y="291"/>
                    <a:pt x="437" y="286"/>
                  </a:cubicBezTo>
                  <a:close/>
                  <a:moveTo>
                    <a:pt x="437" y="356"/>
                  </a:moveTo>
                  <a:cubicBezTo>
                    <a:pt x="362" y="363"/>
                    <a:pt x="305" y="372"/>
                    <a:pt x="267" y="382"/>
                  </a:cubicBezTo>
                  <a:cubicBezTo>
                    <a:pt x="173" y="405"/>
                    <a:pt x="127" y="460"/>
                    <a:pt x="127" y="545"/>
                  </a:cubicBezTo>
                  <a:cubicBezTo>
                    <a:pt x="127" y="593"/>
                    <a:pt x="140" y="627"/>
                    <a:pt x="168" y="650"/>
                  </a:cubicBezTo>
                  <a:cubicBezTo>
                    <a:pt x="198" y="675"/>
                    <a:pt x="246" y="687"/>
                    <a:pt x="312" y="687"/>
                  </a:cubicBezTo>
                  <a:cubicBezTo>
                    <a:pt x="357" y="687"/>
                    <a:pt x="398" y="681"/>
                    <a:pt x="437" y="670"/>
                  </a:cubicBezTo>
                  <a:lnTo>
                    <a:pt x="437" y="356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55" name="Freeform 52"/>
            <p:cNvSpPr>
              <a:spLocks noEditPoints="1"/>
            </p:cNvSpPr>
            <p:nvPr userDrawn="1"/>
          </p:nvSpPr>
          <p:spPr bwMode="gray">
            <a:xfrm>
              <a:off x="7594283" y="773113"/>
              <a:ext cx="50800" cy="96838"/>
            </a:xfrm>
            <a:custGeom>
              <a:avLst/>
              <a:gdLst/>
              <a:ahLst/>
              <a:cxnLst>
                <a:cxn ang="0">
                  <a:pos x="123" y="711"/>
                </a:cxn>
                <a:cxn ang="0">
                  <a:pos x="123" y="1087"/>
                </a:cxn>
                <a:cxn ang="0">
                  <a:pos x="0" y="1087"/>
                </a:cxn>
                <a:cxn ang="0">
                  <a:pos x="0" y="28"/>
                </a:cxn>
                <a:cxn ang="0">
                  <a:pos x="249" y="0"/>
                </a:cxn>
                <a:cxn ang="0">
                  <a:pos x="505" y="113"/>
                </a:cxn>
                <a:cxn ang="0">
                  <a:pos x="567" y="379"/>
                </a:cxn>
                <a:cxn ang="0">
                  <a:pos x="489" y="662"/>
                </a:cxn>
                <a:cxn ang="0">
                  <a:pos x="274" y="762"/>
                </a:cxn>
                <a:cxn ang="0">
                  <a:pos x="172" y="742"/>
                </a:cxn>
                <a:cxn ang="0">
                  <a:pos x="123" y="711"/>
                </a:cxn>
                <a:cxn ang="0">
                  <a:pos x="123" y="625"/>
                </a:cxn>
                <a:cxn ang="0">
                  <a:pos x="260" y="687"/>
                </a:cxn>
                <a:cxn ang="0">
                  <a:pos x="400" y="591"/>
                </a:cxn>
                <a:cxn ang="0">
                  <a:pos x="441" y="378"/>
                </a:cxn>
                <a:cxn ang="0">
                  <a:pos x="386" y="140"/>
                </a:cxn>
                <a:cxn ang="0">
                  <a:pos x="230" y="74"/>
                </a:cxn>
                <a:cxn ang="0">
                  <a:pos x="123" y="83"/>
                </a:cxn>
                <a:cxn ang="0">
                  <a:pos x="123" y="625"/>
                </a:cxn>
              </a:cxnLst>
              <a:rect l="0" t="0" r="r" b="b"/>
              <a:pathLst>
                <a:path w="567" h="1087">
                  <a:moveTo>
                    <a:pt x="123" y="711"/>
                  </a:moveTo>
                  <a:cubicBezTo>
                    <a:pt x="123" y="1087"/>
                    <a:pt x="123" y="1087"/>
                    <a:pt x="123" y="1087"/>
                  </a:cubicBezTo>
                  <a:cubicBezTo>
                    <a:pt x="0" y="1087"/>
                    <a:pt x="0" y="1087"/>
                    <a:pt x="0" y="1087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85" y="9"/>
                    <a:pt x="168" y="0"/>
                    <a:pt x="249" y="0"/>
                  </a:cubicBezTo>
                  <a:cubicBezTo>
                    <a:pt x="374" y="0"/>
                    <a:pt x="459" y="37"/>
                    <a:pt x="505" y="113"/>
                  </a:cubicBezTo>
                  <a:cubicBezTo>
                    <a:pt x="546" y="180"/>
                    <a:pt x="567" y="269"/>
                    <a:pt x="567" y="379"/>
                  </a:cubicBezTo>
                  <a:cubicBezTo>
                    <a:pt x="567" y="495"/>
                    <a:pt x="541" y="590"/>
                    <a:pt x="489" y="662"/>
                  </a:cubicBezTo>
                  <a:cubicBezTo>
                    <a:pt x="440" y="728"/>
                    <a:pt x="369" y="762"/>
                    <a:pt x="274" y="762"/>
                  </a:cubicBezTo>
                  <a:cubicBezTo>
                    <a:pt x="234" y="762"/>
                    <a:pt x="200" y="755"/>
                    <a:pt x="172" y="742"/>
                  </a:cubicBezTo>
                  <a:cubicBezTo>
                    <a:pt x="159" y="736"/>
                    <a:pt x="142" y="725"/>
                    <a:pt x="123" y="711"/>
                  </a:cubicBezTo>
                  <a:close/>
                  <a:moveTo>
                    <a:pt x="123" y="625"/>
                  </a:moveTo>
                  <a:cubicBezTo>
                    <a:pt x="165" y="666"/>
                    <a:pt x="210" y="687"/>
                    <a:pt x="260" y="687"/>
                  </a:cubicBezTo>
                  <a:cubicBezTo>
                    <a:pt x="324" y="687"/>
                    <a:pt x="371" y="655"/>
                    <a:pt x="400" y="591"/>
                  </a:cubicBezTo>
                  <a:cubicBezTo>
                    <a:pt x="427" y="533"/>
                    <a:pt x="441" y="462"/>
                    <a:pt x="441" y="378"/>
                  </a:cubicBezTo>
                  <a:cubicBezTo>
                    <a:pt x="441" y="272"/>
                    <a:pt x="422" y="193"/>
                    <a:pt x="386" y="140"/>
                  </a:cubicBezTo>
                  <a:cubicBezTo>
                    <a:pt x="356" y="96"/>
                    <a:pt x="304" y="74"/>
                    <a:pt x="230" y="74"/>
                  </a:cubicBezTo>
                  <a:cubicBezTo>
                    <a:pt x="198" y="74"/>
                    <a:pt x="162" y="77"/>
                    <a:pt x="123" y="83"/>
                  </a:cubicBezTo>
                  <a:lnTo>
                    <a:pt x="123" y="625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56" name="Freeform 53"/>
            <p:cNvSpPr>
              <a:spLocks noEditPoints="1"/>
            </p:cNvSpPr>
            <p:nvPr userDrawn="1"/>
          </p:nvSpPr>
          <p:spPr bwMode="gray">
            <a:xfrm>
              <a:off x="7659371" y="752475"/>
              <a:ext cx="14288" cy="87313"/>
            </a:xfrm>
            <a:custGeom>
              <a:avLst/>
              <a:gdLst/>
              <a:ahLst/>
              <a:cxnLst>
                <a:cxn ang="0">
                  <a:pos x="75" y="0"/>
                </a:cxn>
                <a:cxn ang="0">
                  <a:pos x="131" y="25"/>
                </a:cxn>
                <a:cxn ang="0">
                  <a:pos x="150" y="76"/>
                </a:cxn>
                <a:cxn ang="0">
                  <a:pos x="126" y="132"/>
                </a:cxn>
                <a:cxn ang="0">
                  <a:pos x="74" y="151"/>
                </a:cxn>
                <a:cxn ang="0">
                  <a:pos x="19" y="127"/>
                </a:cxn>
                <a:cxn ang="0">
                  <a:pos x="0" y="75"/>
                </a:cxn>
                <a:cxn ang="0">
                  <a:pos x="24" y="20"/>
                </a:cxn>
                <a:cxn ang="0">
                  <a:pos x="75" y="0"/>
                </a:cxn>
                <a:cxn ang="0">
                  <a:pos x="15" y="987"/>
                </a:cxn>
                <a:cxn ang="0">
                  <a:pos x="15" y="265"/>
                </a:cxn>
                <a:cxn ang="0">
                  <a:pos x="138" y="265"/>
                </a:cxn>
                <a:cxn ang="0">
                  <a:pos x="138" y="987"/>
                </a:cxn>
                <a:cxn ang="0">
                  <a:pos x="15" y="987"/>
                </a:cxn>
              </a:cxnLst>
              <a:rect l="0" t="0" r="r" b="b"/>
              <a:pathLst>
                <a:path w="150" h="987">
                  <a:moveTo>
                    <a:pt x="75" y="0"/>
                  </a:moveTo>
                  <a:cubicBezTo>
                    <a:pt x="97" y="0"/>
                    <a:pt x="116" y="9"/>
                    <a:pt x="131" y="25"/>
                  </a:cubicBezTo>
                  <a:cubicBezTo>
                    <a:pt x="144" y="40"/>
                    <a:pt x="150" y="57"/>
                    <a:pt x="150" y="76"/>
                  </a:cubicBezTo>
                  <a:cubicBezTo>
                    <a:pt x="150" y="98"/>
                    <a:pt x="142" y="117"/>
                    <a:pt x="126" y="132"/>
                  </a:cubicBezTo>
                  <a:cubicBezTo>
                    <a:pt x="112" y="145"/>
                    <a:pt x="94" y="151"/>
                    <a:pt x="74" y="151"/>
                  </a:cubicBezTo>
                  <a:cubicBezTo>
                    <a:pt x="52" y="151"/>
                    <a:pt x="33" y="143"/>
                    <a:pt x="19" y="127"/>
                  </a:cubicBezTo>
                  <a:cubicBezTo>
                    <a:pt x="6" y="112"/>
                    <a:pt x="0" y="95"/>
                    <a:pt x="0" y="75"/>
                  </a:cubicBezTo>
                  <a:cubicBezTo>
                    <a:pt x="0" y="53"/>
                    <a:pt x="8" y="35"/>
                    <a:pt x="24" y="20"/>
                  </a:cubicBezTo>
                  <a:cubicBezTo>
                    <a:pt x="38" y="7"/>
                    <a:pt x="55" y="0"/>
                    <a:pt x="75" y="0"/>
                  </a:cubicBezTo>
                  <a:close/>
                  <a:moveTo>
                    <a:pt x="15" y="987"/>
                  </a:moveTo>
                  <a:cubicBezTo>
                    <a:pt x="15" y="265"/>
                    <a:pt x="15" y="265"/>
                    <a:pt x="15" y="265"/>
                  </a:cubicBezTo>
                  <a:cubicBezTo>
                    <a:pt x="138" y="265"/>
                    <a:pt x="138" y="265"/>
                    <a:pt x="138" y="265"/>
                  </a:cubicBezTo>
                  <a:cubicBezTo>
                    <a:pt x="138" y="987"/>
                    <a:pt x="138" y="987"/>
                    <a:pt x="138" y="987"/>
                  </a:cubicBezTo>
                  <a:lnTo>
                    <a:pt x="15" y="9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57" name="Freeform 54"/>
            <p:cNvSpPr>
              <a:spLocks/>
            </p:cNvSpPr>
            <p:nvPr userDrawn="1"/>
          </p:nvSpPr>
          <p:spPr bwMode="gray">
            <a:xfrm>
              <a:off x="7692708" y="773113"/>
              <a:ext cx="49213" cy="66675"/>
            </a:xfrm>
            <a:custGeom>
              <a:avLst/>
              <a:gdLst/>
              <a:ahLst/>
              <a:cxnLst>
                <a:cxn ang="0">
                  <a:pos x="0" y="742"/>
                </a:cxn>
                <a:cxn ang="0">
                  <a:pos x="0" y="28"/>
                </a:cxn>
                <a:cxn ang="0">
                  <a:pos x="289" y="0"/>
                </a:cxn>
                <a:cxn ang="0">
                  <a:pos x="526" y="113"/>
                </a:cxn>
                <a:cxn ang="0">
                  <a:pos x="548" y="299"/>
                </a:cxn>
                <a:cxn ang="0">
                  <a:pos x="548" y="742"/>
                </a:cxn>
                <a:cxn ang="0">
                  <a:pos x="424" y="742"/>
                </a:cxn>
                <a:cxn ang="0">
                  <a:pos x="424" y="306"/>
                </a:cxn>
                <a:cxn ang="0">
                  <a:pos x="403" y="134"/>
                </a:cxn>
                <a:cxn ang="0">
                  <a:pos x="277" y="74"/>
                </a:cxn>
                <a:cxn ang="0">
                  <a:pos x="123" y="90"/>
                </a:cxn>
                <a:cxn ang="0">
                  <a:pos x="123" y="742"/>
                </a:cxn>
                <a:cxn ang="0">
                  <a:pos x="0" y="742"/>
                </a:cxn>
              </a:cxnLst>
              <a:rect l="0" t="0" r="r" b="b"/>
              <a:pathLst>
                <a:path w="548" h="742">
                  <a:moveTo>
                    <a:pt x="0" y="742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114" y="9"/>
                    <a:pt x="210" y="0"/>
                    <a:pt x="289" y="0"/>
                  </a:cubicBezTo>
                  <a:cubicBezTo>
                    <a:pt x="415" y="0"/>
                    <a:pt x="494" y="38"/>
                    <a:pt x="526" y="113"/>
                  </a:cubicBezTo>
                  <a:cubicBezTo>
                    <a:pt x="541" y="149"/>
                    <a:pt x="548" y="210"/>
                    <a:pt x="548" y="299"/>
                  </a:cubicBezTo>
                  <a:cubicBezTo>
                    <a:pt x="548" y="742"/>
                    <a:pt x="548" y="742"/>
                    <a:pt x="548" y="742"/>
                  </a:cubicBezTo>
                  <a:cubicBezTo>
                    <a:pt x="424" y="742"/>
                    <a:pt x="424" y="742"/>
                    <a:pt x="424" y="742"/>
                  </a:cubicBezTo>
                  <a:cubicBezTo>
                    <a:pt x="424" y="306"/>
                    <a:pt x="424" y="306"/>
                    <a:pt x="424" y="306"/>
                  </a:cubicBezTo>
                  <a:cubicBezTo>
                    <a:pt x="424" y="221"/>
                    <a:pt x="417" y="163"/>
                    <a:pt x="403" y="134"/>
                  </a:cubicBezTo>
                  <a:cubicBezTo>
                    <a:pt x="382" y="94"/>
                    <a:pt x="341" y="74"/>
                    <a:pt x="277" y="74"/>
                  </a:cubicBezTo>
                  <a:cubicBezTo>
                    <a:pt x="227" y="74"/>
                    <a:pt x="176" y="80"/>
                    <a:pt x="123" y="90"/>
                  </a:cubicBezTo>
                  <a:cubicBezTo>
                    <a:pt x="123" y="742"/>
                    <a:pt x="123" y="742"/>
                    <a:pt x="123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58" name="Freeform 55"/>
            <p:cNvSpPr>
              <a:spLocks noEditPoints="1"/>
            </p:cNvSpPr>
            <p:nvPr userDrawn="1"/>
          </p:nvSpPr>
          <p:spPr bwMode="gray">
            <a:xfrm>
              <a:off x="7756208" y="773113"/>
              <a:ext cx="50800" cy="98425"/>
            </a:xfrm>
            <a:custGeom>
              <a:avLst/>
              <a:gdLst/>
              <a:ahLst/>
              <a:cxnLst>
                <a:cxn ang="0">
                  <a:pos x="445" y="677"/>
                </a:cxn>
                <a:cxn ang="0">
                  <a:pos x="399" y="721"/>
                </a:cxn>
                <a:cxn ang="0">
                  <a:pos x="257" y="762"/>
                </a:cxn>
                <a:cxn ang="0">
                  <a:pos x="97" y="708"/>
                </a:cxn>
                <a:cxn ang="0">
                  <a:pos x="0" y="414"/>
                </a:cxn>
                <a:cxn ang="0">
                  <a:pos x="71" y="131"/>
                </a:cxn>
                <a:cxn ang="0">
                  <a:pos x="340" y="0"/>
                </a:cxn>
                <a:cxn ang="0">
                  <a:pos x="569" y="28"/>
                </a:cxn>
                <a:cxn ang="0">
                  <a:pos x="569" y="601"/>
                </a:cxn>
                <a:cxn ang="0">
                  <a:pos x="555" y="843"/>
                </a:cxn>
                <a:cxn ang="0">
                  <a:pos x="422" y="1052"/>
                </a:cxn>
                <a:cxn ang="0">
                  <a:pos x="191" y="1098"/>
                </a:cxn>
                <a:cxn ang="0">
                  <a:pos x="98" y="1092"/>
                </a:cxn>
                <a:cxn ang="0">
                  <a:pos x="98" y="1018"/>
                </a:cxn>
                <a:cxn ang="0">
                  <a:pos x="190" y="1024"/>
                </a:cxn>
                <a:cxn ang="0">
                  <a:pos x="341" y="997"/>
                </a:cxn>
                <a:cxn ang="0">
                  <a:pos x="434" y="858"/>
                </a:cxn>
                <a:cxn ang="0">
                  <a:pos x="445" y="716"/>
                </a:cxn>
                <a:cxn ang="0">
                  <a:pos x="445" y="677"/>
                </a:cxn>
                <a:cxn ang="0">
                  <a:pos x="445" y="81"/>
                </a:cxn>
                <a:cxn ang="0">
                  <a:pos x="353" y="74"/>
                </a:cxn>
                <a:cxn ang="0">
                  <a:pos x="231" y="106"/>
                </a:cxn>
                <a:cxn ang="0">
                  <a:pos x="152" y="233"/>
                </a:cxn>
                <a:cxn ang="0">
                  <a:pos x="126" y="419"/>
                </a:cxn>
                <a:cxn ang="0">
                  <a:pos x="174" y="633"/>
                </a:cxn>
                <a:cxn ang="0">
                  <a:pos x="274" y="687"/>
                </a:cxn>
                <a:cxn ang="0">
                  <a:pos x="371" y="654"/>
                </a:cxn>
                <a:cxn ang="0">
                  <a:pos x="435" y="566"/>
                </a:cxn>
                <a:cxn ang="0">
                  <a:pos x="445" y="483"/>
                </a:cxn>
                <a:cxn ang="0">
                  <a:pos x="445" y="81"/>
                </a:cxn>
              </a:cxnLst>
              <a:rect l="0" t="0" r="r" b="b"/>
              <a:pathLst>
                <a:path w="569" h="1098">
                  <a:moveTo>
                    <a:pt x="445" y="677"/>
                  </a:moveTo>
                  <a:cubicBezTo>
                    <a:pt x="427" y="697"/>
                    <a:pt x="412" y="712"/>
                    <a:pt x="399" y="721"/>
                  </a:cubicBezTo>
                  <a:cubicBezTo>
                    <a:pt x="362" y="748"/>
                    <a:pt x="314" y="762"/>
                    <a:pt x="257" y="762"/>
                  </a:cubicBezTo>
                  <a:cubicBezTo>
                    <a:pt x="192" y="762"/>
                    <a:pt x="139" y="744"/>
                    <a:pt x="97" y="708"/>
                  </a:cubicBezTo>
                  <a:cubicBezTo>
                    <a:pt x="32" y="654"/>
                    <a:pt x="0" y="556"/>
                    <a:pt x="0" y="414"/>
                  </a:cubicBezTo>
                  <a:cubicBezTo>
                    <a:pt x="0" y="300"/>
                    <a:pt x="24" y="206"/>
                    <a:pt x="71" y="131"/>
                  </a:cubicBezTo>
                  <a:cubicBezTo>
                    <a:pt x="126" y="44"/>
                    <a:pt x="216" y="0"/>
                    <a:pt x="340" y="0"/>
                  </a:cubicBezTo>
                  <a:cubicBezTo>
                    <a:pt x="414" y="0"/>
                    <a:pt x="490" y="9"/>
                    <a:pt x="569" y="28"/>
                  </a:cubicBezTo>
                  <a:cubicBezTo>
                    <a:pt x="569" y="601"/>
                    <a:pt x="569" y="601"/>
                    <a:pt x="569" y="601"/>
                  </a:cubicBezTo>
                  <a:cubicBezTo>
                    <a:pt x="569" y="707"/>
                    <a:pt x="564" y="788"/>
                    <a:pt x="555" y="843"/>
                  </a:cubicBezTo>
                  <a:cubicBezTo>
                    <a:pt x="538" y="944"/>
                    <a:pt x="494" y="1013"/>
                    <a:pt x="422" y="1052"/>
                  </a:cubicBezTo>
                  <a:cubicBezTo>
                    <a:pt x="363" y="1083"/>
                    <a:pt x="286" y="1098"/>
                    <a:pt x="191" y="1098"/>
                  </a:cubicBezTo>
                  <a:cubicBezTo>
                    <a:pt x="164" y="1098"/>
                    <a:pt x="133" y="1096"/>
                    <a:pt x="98" y="1092"/>
                  </a:cubicBezTo>
                  <a:cubicBezTo>
                    <a:pt x="98" y="1018"/>
                    <a:pt x="98" y="1018"/>
                    <a:pt x="98" y="1018"/>
                  </a:cubicBezTo>
                  <a:cubicBezTo>
                    <a:pt x="130" y="1022"/>
                    <a:pt x="160" y="1024"/>
                    <a:pt x="190" y="1024"/>
                  </a:cubicBezTo>
                  <a:cubicBezTo>
                    <a:pt x="258" y="1024"/>
                    <a:pt x="308" y="1015"/>
                    <a:pt x="341" y="997"/>
                  </a:cubicBezTo>
                  <a:cubicBezTo>
                    <a:pt x="390" y="971"/>
                    <a:pt x="421" y="924"/>
                    <a:pt x="434" y="858"/>
                  </a:cubicBezTo>
                  <a:cubicBezTo>
                    <a:pt x="442" y="821"/>
                    <a:pt x="445" y="773"/>
                    <a:pt x="445" y="716"/>
                  </a:cubicBezTo>
                  <a:lnTo>
                    <a:pt x="445" y="677"/>
                  </a:lnTo>
                  <a:close/>
                  <a:moveTo>
                    <a:pt x="445" y="81"/>
                  </a:moveTo>
                  <a:cubicBezTo>
                    <a:pt x="411" y="77"/>
                    <a:pt x="380" y="74"/>
                    <a:pt x="353" y="74"/>
                  </a:cubicBezTo>
                  <a:cubicBezTo>
                    <a:pt x="301" y="74"/>
                    <a:pt x="260" y="85"/>
                    <a:pt x="231" y="106"/>
                  </a:cubicBezTo>
                  <a:cubicBezTo>
                    <a:pt x="197" y="130"/>
                    <a:pt x="171" y="173"/>
                    <a:pt x="152" y="233"/>
                  </a:cubicBezTo>
                  <a:cubicBezTo>
                    <a:pt x="135" y="287"/>
                    <a:pt x="126" y="348"/>
                    <a:pt x="126" y="419"/>
                  </a:cubicBezTo>
                  <a:cubicBezTo>
                    <a:pt x="126" y="517"/>
                    <a:pt x="142" y="589"/>
                    <a:pt x="174" y="633"/>
                  </a:cubicBezTo>
                  <a:cubicBezTo>
                    <a:pt x="199" y="669"/>
                    <a:pt x="233" y="687"/>
                    <a:pt x="274" y="687"/>
                  </a:cubicBezTo>
                  <a:cubicBezTo>
                    <a:pt x="308" y="687"/>
                    <a:pt x="341" y="676"/>
                    <a:pt x="371" y="654"/>
                  </a:cubicBezTo>
                  <a:cubicBezTo>
                    <a:pt x="401" y="631"/>
                    <a:pt x="423" y="602"/>
                    <a:pt x="435" y="566"/>
                  </a:cubicBezTo>
                  <a:cubicBezTo>
                    <a:pt x="442" y="547"/>
                    <a:pt x="445" y="520"/>
                    <a:pt x="445" y="483"/>
                  </a:cubicBezTo>
                  <a:lnTo>
                    <a:pt x="445" y="8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60" name="Freeform 56"/>
            <p:cNvSpPr>
              <a:spLocks/>
            </p:cNvSpPr>
            <p:nvPr userDrawn="1"/>
          </p:nvSpPr>
          <p:spPr bwMode="gray">
            <a:xfrm>
              <a:off x="7856221" y="758825"/>
              <a:ext cx="28575" cy="8096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4" y="0"/>
                </a:cxn>
                <a:cxn ang="0">
                  <a:pos x="124" y="195"/>
                </a:cxn>
                <a:cxn ang="0">
                  <a:pos x="318" y="195"/>
                </a:cxn>
                <a:cxn ang="0">
                  <a:pos x="318" y="273"/>
                </a:cxn>
                <a:cxn ang="0">
                  <a:pos x="124" y="273"/>
                </a:cxn>
                <a:cxn ang="0">
                  <a:pos x="124" y="656"/>
                </a:cxn>
                <a:cxn ang="0">
                  <a:pos x="156" y="804"/>
                </a:cxn>
                <a:cxn ang="0">
                  <a:pos x="225" y="836"/>
                </a:cxn>
                <a:cxn ang="0">
                  <a:pos x="277" y="838"/>
                </a:cxn>
                <a:cxn ang="0">
                  <a:pos x="318" y="838"/>
                </a:cxn>
                <a:cxn ang="0">
                  <a:pos x="318" y="917"/>
                </a:cxn>
                <a:cxn ang="0">
                  <a:pos x="251" y="917"/>
                </a:cxn>
                <a:cxn ang="0">
                  <a:pos x="127" y="904"/>
                </a:cxn>
                <a:cxn ang="0">
                  <a:pos x="11" y="782"/>
                </a:cxn>
                <a:cxn ang="0">
                  <a:pos x="0" y="638"/>
                </a:cxn>
                <a:cxn ang="0">
                  <a:pos x="0" y="0"/>
                </a:cxn>
              </a:cxnLst>
              <a:rect l="0" t="0" r="r" b="b"/>
              <a:pathLst>
                <a:path w="318" h="917">
                  <a:moveTo>
                    <a:pt x="0" y="0"/>
                  </a:moveTo>
                  <a:cubicBezTo>
                    <a:pt x="124" y="0"/>
                    <a:pt x="124" y="0"/>
                    <a:pt x="124" y="0"/>
                  </a:cubicBezTo>
                  <a:cubicBezTo>
                    <a:pt x="124" y="195"/>
                    <a:pt x="124" y="195"/>
                    <a:pt x="124" y="195"/>
                  </a:cubicBezTo>
                  <a:cubicBezTo>
                    <a:pt x="318" y="195"/>
                    <a:pt x="318" y="195"/>
                    <a:pt x="318" y="195"/>
                  </a:cubicBezTo>
                  <a:cubicBezTo>
                    <a:pt x="318" y="273"/>
                    <a:pt x="318" y="273"/>
                    <a:pt x="318" y="273"/>
                  </a:cubicBezTo>
                  <a:cubicBezTo>
                    <a:pt x="124" y="273"/>
                    <a:pt x="124" y="273"/>
                    <a:pt x="124" y="273"/>
                  </a:cubicBezTo>
                  <a:cubicBezTo>
                    <a:pt x="124" y="656"/>
                    <a:pt x="124" y="656"/>
                    <a:pt x="124" y="656"/>
                  </a:cubicBezTo>
                  <a:cubicBezTo>
                    <a:pt x="124" y="729"/>
                    <a:pt x="135" y="778"/>
                    <a:pt x="156" y="804"/>
                  </a:cubicBezTo>
                  <a:cubicBezTo>
                    <a:pt x="171" y="821"/>
                    <a:pt x="194" y="832"/>
                    <a:pt x="225" y="836"/>
                  </a:cubicBezTo>
                  <a:cubicBezTo>
                    <a:pt x="235" y="837"/>
                    <a:pt x="252" y="838"/>
                    <a:pt x="277" y="838"/>
                  </a:cubicBezTo>
                  <a:cubicBezTo>
                    <a:pt x="318" y="838"/>
                    <a:pt x="318" y="838"/>
                    <a:pt x="318" y="838"/>
                  </a:cubicBezTo>
                  <a:cubicBezTo>
                    <a:pt x="318" y="917"/>
                    <a:pt x="318" y="917"/>
                    <a:pt x="318" y="917"/>
                  </a:cubicBezTo>
                  <a:cubicBezTo>
                    <a:pt x="251" y="917"/>
                    <a:pt x="251" y="917"/>
                    <a:pt x="251" y="917"/>
                  </a:cubicBezTo>
                  <a:cubicBezTo>
                    <a:pt x="198" y="917"/>
                    <a:pt x="157" y="913"/>
                    <a:pt x="127" y="904"/>
                  </a:cubicBezTo>
                  <a:cubicBezTo>
                    <a:pt x="64" y="887"/>
                    <a:pt x="26" y="846"/>
                    <a:pt x="11" y="782"/>
                  </a:cubicBezTo>
                  <a:cubicBezTo>
                    <a:pt x="4" y="747"/>
                    <a:pt x="0" y="699"/>
                    <a:pt x="0" y="638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61" name="Freeform 57"/>
            <p:cNvSpPr>
              <a:spLocks noEditPoints="1"/>
            </p:cNvSpPr>
            <p:nvPr userDrawn="1"/>
          </p:nvSpPr>
          <p:spPr bwMode="gray">
            <a:xfrm>
              <a:off x="7894321" y="773113"/>
              <a:ext cx="53975" cy="68263"/>
            </a:xfrm>
            <a:custGeom>
              <a:avLst/>
              <a:gdLst/>
              <a:ahLst/>
              <a:cxnLst>
                <a:cxn ang="0">
                  <a:pos x="304" y="0"/>
                </a:cxn>
                <a:cxn ang="0">
                  <a:pos x="534" y="103"/>
                </a:cxn>
                <a:cxn ang="0">
                  <a:pos x="607" y="381"/>
                </a:cxn>
                <a:cxn ang="0">
                  <a:pos x="534" y="659"/>
                </a:cxn>
                <a:cxn ang="0">
                  <a:pos x="304" y="762"/>
                </a:cxn>
                <a:cxn ang="0">
                  <a:pos x="0" y="375"/>
                </a:cxn>
                <a:cxn ang="0">
                  <a:pos x="73" y="103"/>
                </a:cxn>
                <a:cxn ang="0">
                  <a:pos x="304" y="0"/>
                </a:cxn>
                <a:cxn ang="0">
                  <a:pos x="304" y="74"/>
                </a:cxn>
                <a:cxn ang="0">
                  <a:pos x="159" y="168"/>
                </a:cxn>
                <a:cxn ang="0">
                  <a:pos x="126" y="377"/>
                </a:cxn>
                <a:cxn ang="0">
                  <a:pos x="159" y="593"/>
                </a:cxn>
                <a:cxn ang="0">
                  <a:pos x="304" y="687"/>
                </a:cxn>
                <a:cxn ang="0">
                  <a:pos x="448" y="593"/>
                </a:cxn>
                <a:cxn ang="0">
                  <a:pos x="481" y="380"/>
                </a:cxn>
                <a:cxn ang="0">
                  <a:pos x="448" y="168"/>
                </a:cxn>
                <a:cxn ang="0">
                  <a:pos x="304" y="74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4" y="762"/>
                  </a:cubicBezTo>
                  <a:cubicBezTo>
                    <a:pt x="101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6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6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62" name="Freeform 58"/>
            <p:cNvSpPr>
              <a:spLocks/>
            </p:cNvSpPr>
            <p:nvPr userDrawn="1"/>
          </p:nvSpPr>
          <p:spPr bwMode="gray">
            <a:xfrm>
              <a:off x="7964171" y="773113"/>
              <a:ext cx="82550" cy="66675"/>
            </a:xfrm>
            <a:custGeom>
              <a:avLst/>
              <a:gdLst/>
              <a:ahLst/>
              <a:cxnLst>
                <a:cxn ang="0">
                  <a:pos x="0" y="742"/>
                </a:cxn>
                <a:cxn ang="0">
                  <a:pos x="0" y="28"/>
                </a:cxn>
                <a:cxn ang="0">
                  <a:pos x="267" y="0"/>
                </a:cxn>
                <a:cxn ang="0">
                  <a:pos x="460" y="46"/>
                </a:cxn>
                <a:cxn ang="0">
                  <a:pos x="691" y="0"/>
                </a:cxn>
                <a:cxn ang="0">
                  <a:pos x="912" y="114"/>
                </a:cxn>
                <a:cxn ang="0">
                  <a:pos x="933" y="299"/>
                </a:cxn>
                <a:cxn ang="0">
                  <a:pos x="933" y="742"/>
                </a:cxn>
                <a:cxn ang="0">
                  <a:pos x="809" y="742"/>
                </a:cxn>
                <a:cxn ang="0">
                  <a:pos x="809" y="306"/>
                </a:cxn>
                <a:cxn ang="0">
                  <a:pos x="790" y="135"/>
                </a:cxn>
                <a:cxn ang="0">
                  <a:pos x="675" y="74"/>
                </a:cxn>
                <a:cxn ang="0">
                  <a:pos x="528" y="108"/>
                </a:cxn>
                <a:cxn ang="0">
                  <a:pos x="528" y="742"/>
                </a:cxn>
                <a:cxn ang="0">
                  <a:pos x="405" y="742"/>
                </a:cxn>
                <a:cxn ang="0">
                  <a:pos x="405" y="301"/>
                </a:cxn>
                <a:cxn ang="0">
                  <a:pos x="385" y="135"/>
                </a:cxn>
                <a:cxn ang="0">
                  <a:pos x="267" y="74"/>
                </a:cxn>
                <a:cxn ang="0">
                  <a:pos x="124" y="90"/>
                </a:cxn>
                <a:cxn ang="0">
                  <a:pos x="124" y="742"/>
                </a:cxn>
                <a:cxn ang="0">
                  <a:pos x="0" y="742"/>
                </a:cxn>
              </a:cxnLst>
              <a:rect l="0" t="0" r="r" b="b"/>
              <a:pathLst>
                <a:path w="933" h="742">
                  <a:moveTo>
                    <a:pt x="0" y="742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113" y="9"/>
                    <a:pt x="202" y="0"/>
                    <a:pt x="267" y="0"/>
                  </a:cubicBezTo>
                  <a:cubicBezTo>
                    <a:pt x="352" y="0"/>
                    <a:pt x="417" y="15"/>
                    <a:pt x="460" y="46"/>
                  </a:cubicBezTo>
                  <a:cubicBezTo>
                    <a:pt x="538" y="15"/>
                    <a:pt x="615" y="0"/>
                    <a:pt x="691" y="0"/>
                  </a:cubicBezTo>
                  <a:cubicBezTo>
                    <a:pt x="808" y="0"/>
                    <a:pt x="881" y="38"/>
                    <a:pt x="912" y="114"/>
                  </a:cubicBezTo>
                  <a:cubicBezTo>
                    <a:pt x="926" y="149"/>
                    <a:pt x="933" y="211"/>
                    <a:pt x="933" y="299"/>
                  </a:cubicBezTo>
                  <a:cubicBezTo>
                    <a:pt x="933" y="742"/>
                    <a:pt x="933" y="742"/>
                    <a:pt x="933" y="742"/>
                  </a:cubicBezTo>
                  <a:cubicBezTo>
                    <a:pt x="809" y="742"/>
                    <a:pt x="809" y="742"/>
                    <a:pt x="809" y="742"/>
                  </a:cubicBezTo>
                  <a:cubicBezTo>
                    <a:pt x="809" y="306"/>
                    <a:pt x="809" y="306"/>
                    <a:pt x="809" y="306"/>
                  </a:cubicBezTo>
                  <a:cubicBezTo>
                    <a:pt x="809" y="222"/>
                    <a:pt x="803" y="164"/>
                    <a:pt x="790" y="135"/>
                  </a:cubicBezTo>
                  <a:cubicBezTo>
                    <a:pt x="771" y="94"/>
                    <a:pt x="733" y="74"/>
                    <a:pt x="675" y="74"/>
                  </a:cubicBezTo>
                  <a:cubicBezTo>
                    <a:pt x="627" y="74"/>
                    <a:pt x="578" y="86"/>
                    <a:pt x="528" y="108"/>
                  </a:cubicBezTo>
                  <a:cubicBezTo>
                    <a:pt x="528" y="742"/>
                    <a:pt x="528" y="742"/>
                    <a:pt x="528" y="742"/>
                  </a:cubicBezTo>
                  <a:cubicBezTo>
                    <a:pt x="405" y="742"/>
                    <a:pt x="405" y="742"/>
                    <a:pt x="405" y="742"/>
                  </a:cubicBezTo>
                  <a:cubicBezTo>
                    <a:pt x="405" y="301"/>
                    <a:pt x="405" y="301"/>
                    <a:pt x="405" y="301"/>
                  </a:cubicBezTo>
                  <a:cubicBezTo>
                    <a:pt x="405" y="219"/>
                    <a:pt x="398" y="164"/>
                    <a:pt x="385" y="135"/>
                  </a:cubicBezTo>
                  <a:cubicBezTo>
                    <a:pt x="366" y="94"/>
                    <a:pt x="327" y="74"/>
                    <a:pt x="267" y="74"/>
                  </a:cubicBezTo>
                  <a:cubicBezTo>
                    <a:pt x="221" y="74"/>
                    <a:pt x="173" y="80"/>
                    <a:pt x="124" y="90"/>
                  </a:cubicBezTo>
                  <a:cubicBezTo>
                    <a:pt x="124" y="742"/>
                    <a:pt x="124" y="742"/>
                    <a:pt x="124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63" name="Freeform 62"/>
            <p:cNvSpPr>
              <a:spLocks noEditPoints="1"/>
            </p:cNvSpPr>
            <p:nvPr userDrawn="1"/>
          </p:nvSpPr>
          <p:spPr bwMode="gray">
            <a:xfrm>
              <a:off x="8062596" y="773113"/>
              <a:ext cx="53975" cy="68263"/>
            </a:xfrm>
            <a:custGeom>
              <a:avLst/>
              <a:gdLst/>
              <a:ahLst/>
              <a:cxnLst>
                <a:cxn ang="0">
                  <a:pos x="304" y="0"/>
                </a:cxn>
                <a:cxn ang="0">
                  <a:pos x="534" y="103"/>
                </a:cxn>
                <a:cxn ang="0">
                  <a:pos x="607" y="381"/>
                </a:cxn>
                <a:cxn ang="0">
                  <a:pos x="534" y="659"/>
                </a:cxn>
                <a:cxn ang="0">
                  <a:pos x="304" y="762"/>
                </a:cxn>
                <a:cxn ang="0">
                  <a:pos x="0" y="375"/>
                </a:cxn>
                <a:cxn ang="0">
                  <a:pos x="73" y="103"/>
                </a:cxn>
                <a:cxn ang="0">
                  <a:pos x="304" y="0"/>
                </a:cxn>
                <a:cxn ang="0">
                  <a:pos x="304" y="74"/>
                </a:cxn>
                <a:cxn ang="0">
                  <a:pos x="159" y="168"/>
                </a:cxn>
                <a:cxn ang="0">
                  <a:pos x="126" y="377"/>
                </a:cxn>
                <a:cxn ang="0">
                  <a:pos x="159" y="593"/>
                </a:cxn>
                <a:cxn ang="0">
                  <a:pos x="304" y="687"/>
                </a:cxn>
                <a:cxn ang="0">
                  <a:pos x="448" y="593"/>
                </a:cxn>
                <a:cxn ang="0">
                  <a:pos x="481" y="380"/>
                </a:cxn>
                <a:cxn ang="0">
                  <a:pos x="448" y="168"/>
                </a:cxn>
                <a:cxn ang="0">
                  <a:pos x="304" y="74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4" y="762"/>
                  </a:cubicBezTo>
                  <a:cubicBezTo>
                    <a:pt x="101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6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6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64" name="Freeform 63"/>
            <p:cNvSpPr>
              <a:spLocks/>
            </p:cNvSpPr>
            <p:nvPr userDrawn="1"/>
          </p:nvSpPr>
          <p:spPr bwMode="gray">
            <a:xfrm>
              <a:off x="8132446" y="773113"/>
              <a:ext cx="26988" cy="66675"/>
            </a:xfrm>
            <a:custGeom>
              <a:avLst/>
              <a:gdLst/>
              <a:ahLst/>
              <a:cxnLst>
                <a:cxn ang="0">
                  <a:pos x="0" y="742"/>
                </a:cxn>
                <a:cxn ang="0">
                  <a:pos x="0" y="31"/>
                </a:cxn>
                <a:cxn ang="0">
                  <a:pos x="312" y="0"/>
                </a:cxn>
                <a:cxn ang="0">
                  <a:pos x="312" y="77"/>
                </a:cxn>
                <a:cxn ang="0">
                  <a:pos x="124" y="90"/>
                </a:cxn>
                <a:cxn ang="0">
                  <a:pos x="124" y="742"/>
                </a:cxn>
                <a:cxn ang="0">
                  <a:pos x="0" y="742"/>
                </a:cxn>
              </a:cxnLst>
              <a:rect l="0" t="0" r="r" b="b"/>
              <a:pathLst>
                <a:path w="312" h="742">
                  <a:moveTo>
                    <a:pt x="0" y="742"/>
                  </a:moveTo>
                  <a:cubicBezTo>
                    <a:pt x="0" y="31"/>
                    <a:pt x="0" y="31"/>
                    <a:pt x="0" y="31"/>
                  </a:cubicBezTo>
                  <a:cubicBezTo>
                    <a:pt x="94" y="11"/>
                    <a:pt x="198" y="1"/>
                    <a:pt x="312" y="0"/>
                  </a:cubicBezTo>
                  <a:cubicBezTo>
                    <a:pt x="312" y="77"/>
                    <a:pt x="312" y="77"/>
                    <a:pt x="312" y="77"/>
                  </a:cubicBezTo>
                  <a:cubicBezTo>
                    <a:pt x="243" y="78"/>
                    <a:pt x="180" y="82"/>
                    <a:pt x="124" y="90"/>
                  </a:cubicBezTo>
                  <a:cubicBezTo>
                    <a:pt x="124" y="742"/>
                    <a:pt x="124" y="742"/>
                    <a:pt x="124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65" name="Freeform 64"/>
            <p:cNvSpPr>
              <a:spLocks/>
            </p:cNvSpPr>
            <p:nvPr userDrawn="1"/>
          </p:nvSpPr>
          <p:spPr bwMode="gray">
            <a:xfrm>
              <a:off x="8172133" y="773113"/>
              <a:ext cx="26988" cy="66675"/>
            </a:xfrm>
            <a:custGeom>
              <a:avLst/>
              <a:gdLst/>
              <a:ahLst/>
              <a:cxnLst>
                <a:cxn ang="0">
                  <a:pos x="0" y="742"/>
                </a:cxn>
                <a:cxn ang="0">
                  <a:pos x="0" y="31"/>
                </a:cxn>
                <a:cxn ang="0">
                  <a:pos x="312" y="0"/>
                </a:cxn>
                <a:cxn ang="0">
                  <a:pos x="312" y="77"/>
                </a:cxn>
                <a:cxn ang="0">
                  <a:pos x="124" y="90"/>
                </a:cxn>
                <a:cxn ang="0">
                  <a:pos x="124" y="742"/>
                </a:cxn>
                <a:cxn ang="0">
                  <a:pos x="0" y="742"/>
                </a:cxn>
              </a:cxnLst>
              <a:rect l="0" t="0" r="r" b="b"/>
              <a:pathLst>
                <a:path w="312" h="742">
                  <a:moveTo>
                    <a:pt x="0" y="742"/>
                  </a:moveTo>
                  <a:cubicBezTo>
                    <a:pt x="0" y="31"/>
                    <a:pt x="0" y="31"/>
                    <a:pt x="0" y="31"/>
                  </a:cubicBezTo>
                  <a:cubicBezTo>
                    <a:pt x="94" y="11"/>
                    <a:pt x="198" y="1"/>
                    <a:pt x="312" y="0"/>
                  </a:cubicBezTo>
                  <a:cubicBezTo>
                    <a:pt x="312" y="77"/>
                    <a:pt x="312" y="77"/>
                    <a:pt x="312" y="77"/>
                  </a:cubicBezTo>
                  <a:cubicBezTo>
                    <a:pt x="243" y="78"/>
                    <a:pt x="180" y="82"/>
                    <a:pt x="124" y="90"/>
                  </a:cubicBezTo>
                  <a:cubicBezTo>
                    <a:pt x="124" y="742"/>
                    <a:pt x="124" y="742"/>
                    <a:pt x="124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66" name="Freeform 65"/>
            <p:cNvSpPr>
              <a:spLocks noEditPoints="1"/>
            </p:cNvSpPr>
            <p:nvPr userDrawn="1"/>
          </p:nvSpPr>
          <p:spPr bwMode="gray">
            <a:xfrm>
              <a:off x="8207058" y="773113"/>
              <a:ext cx="53975" cy="68263"/>
            </a:xfrm>
            <a:custGeom>
              <a:avLst/>
              <a:gdLst/>
              <a:ahLst/>
              <a:cxnLst>
                <a:cxn ang="0">
                  <a:pos x="304" y="0"/>
                </a:cxn>
                <a:cxn ang="0">
                  <a:pos x="534" y="103"/>
                </a:cxn>
                <a:cxn ang="0">
                  <a:pos x="607" y="381"/>
                </a:cxn>
                <a:cxn ang="0">
                  <a:pos x="534" y="659"/>
                </a:cxn>
                <a:cxn ang="0">
                  <a:pos x="305" y="762"/>
                </a:cxn>
                <a:cxn ang="0">
                  <a:pos x="0" y="375"/>
                </a:cxn>
                <a:cxn ang="0">
                  <a:pos x="73" y="103"/>
                </a:cxn>
                <a:cxn ang="0">
                  <a:pos x="304" y="0"/>
                </a:cxn>
                <a:cxn ang="0">
                  <a:pos x="304" y="74"/>
                </a:cxn>
                <a:cxn ang="0">
                  <a:pos x="159" y="168"/>
                </a:cxn>
                <a:cxn ang="0">
                  <a:pos x="126" y="377"/>
                </a:cxn>
                <a:cxn ang="0">
                  <a:pos x="159" y="593"/>
                </a:cxn>
                <a:cxn ang="0">
                  <a:pos x="304" y="687"/>
                </a:cxn>
                <a:cxn ang="0">
                  <a:pos x="448" y="593"/>
                </a:cxn>
                <a:cxn ang="0">
                  <a:pos x="481" y="380"/>
                </a:cxn>
                <a:cxn ang="0">
                  <a:pos x="448" y="168"/>
                </a:cxn>
                <a:cxn ang="0">
                  <a:pos x="304" y="74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5" y="762"/>
                  </a:cubicBezTo>
                  <a:cubicBezTo>
                    <a:pt x="102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6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6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67" name="Freeform 66"/>
            <p:cNvSpPr>
              <a:spLocks/>
            </p:cNvSpPr>
            <p:nvPr userDrawn="1"/>
          </p:nvSpPr>
          <p:spPr bwMode="gray">
            <a:xfrm>
              <a:off x="8267383" y="774700"/>
              <a:ext cx="82550" cy="65088"/>
            </a:xfrm>
            <a:custGeom>
              <a:avLst/>
              <a:gdLst/>
              <a:ahLst/>
              <a:cxnLst>
                <a:cxn ang="0">
                  <a:pos x="204" y="722"/>
                </a:cxn>
                <a:cxn ang="0">
                  <a:pos x="0" y="0"/>
                </a:cxn>
                <a:cxn ang="0">
                  <a:pos x="124" y="0"/>
                </a:cxn>
                <a:cxn ang="0">
                  <a:pos x="277" y="588"/>
                </a:cxn>
                <a:cxn ang="0">
                  <a:pos x="412" y="0"/>
                </a:cxn>
                <a:cxn ang="0">
                  <a:pos x="534" y="0"/>
                </a:cxn>
                <a:cxn ang="0">
                  <a:pos x="676" y="588"/>
                </a:cxn>
                <a:cxn ang="0">
                  <a:pos x="828" y="0"/>
                </a:cxn>
                <a:cxn ang="0">
                  <a:pos x="929" y="0"/>
                </a:cxn>
                <a:cxn ang="0">
                  <a:pos x="726" y="722"/>
                </a:cxn>
                <a:cxn ang="0">
                  <a:pos x="603" y="722"/>
                </a:cxn>
                <a:cxn ang="0">
                  <a:pos x="495" y="255"/>
                </a:cxn>
                <a:cxn ang="0">
                  <a:pos x="468" y="107"/>
                </a:cxn>
                <a:cxn ang="0">
                  <a:pos x="440" y="254"/>
                </a:cxn>
                <a:cxn ang="0">
                  <a:pos x="332" y="722"/>
                </a:cxn>
                <a:cxn ang="0">
                  <a:pos x="204" y="722"/>
                </a:cxn>
              </a:cxnLst>
              <a:rect l="0" t="0" r="r" b="b"/>
              <a:pathLst>
                <a:path w="929" h="722">
                  <a:moveTo>
                    <a:pt x="204" y="722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277" y="588"/>
                    <a:pt x="277" y="588"/>
                    <a:pt x="277" y="588"/>
                  </a:cubicBezTo>
                  <a:cubicBezTo>
                    <a:pt x="412" y="0"/>
                    <a:pt x="412" y="0"/>
                    <a:pt x="412" y="0"/>
                  </a:cubicBezTo>
                  <a:cubicBezTo>
                    <a:pt x="534" y="0"/>
                    <a:pt x="534" y="0"/>
                    <a:pt x="534" y="0"/>
                  </a:cubicBezTo>
                  <a:cubicBezTo>
                    <a:pt x="676" y="588"/>
                    <a:pt x="676" y="588"/>
                    <a:pt x="676" y="588"/>
                  </a:cubicBezTo>
                  <a:cubicBezTo>
                    <a:pt x="828" y="0"/>
                    <a:pt x="828" y="0"/>
                    <a:pt x="828" y="0"/>
                  </a:cubicBezTo>
                  <a:cubicBezTo>
                    <a:pt x="929" y="0"/>
                    <a:pt x="929" y="0"/>
                    <a:pt x="929" y="0"/>
                  </a:cubicBezTo>
                  <a:cubicBezTo>
                    <a:pt x="726" y="722"/>
                    <a:pt x="726" y="722"/>
                    <a:pt x="726" y="722"/>
                  </a:cubicBezTo>
                  <a:cubicBezTo>
                    <a:pt x="603" y="722"/>
                    <a:pt x="603" y="722"/>
                    <a:pt x="603" y="722"/>
                  </a:cubicBezTo>
                  <a:cubicBezTo>
                    <a:pt x="495" y="255"/>
                    <a:pt x="495" y="255"/>
                    <a:pt x="495" y="255"/>
                  </a:cubicBezTo>
                  <a:cubicBezTo>
                    <a:pt x="487" y="221"/>
                    <a:pt x="478" y="172"/>
                    <a:pt x="468" y="107"/>
                  </a:cubicBezTo>
                  <a:cubicBezTo>
                    <a:pt x="460" y="159"/>
                    <a:pt x="451" y="208"/>
                    <a:pt x="440" y="254"/>
                  </a:cubicBezTo>
                  <a:cubicBezTo>
                    <a:pt x="332" y="722"/>
                    <a:pt x="332" y="722"/>
                    <a:pt x="332" y="722"/>
                  </a:cubicBezTo>
                  <a:lnTo>
                    <a:pt x="204" y="72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68" name="Freeform 67"/>
            <p:cNvSpPr>
              <a:spLocks/>
            </p:cNvSpPr>
            <p:nvPr userDrawn="1"/>
          </p:nvSpPr>
          <p:spPr bwMode="gray">
            <a:xfrm>
              <a:off x="8381683" y="774700"/>
              <a:ext cx="82550" cy="65088"/>
            </a:xfrm>
            <a:custGeom>
              <a:avLst/>
              <a:gdLst/>
              <a:ahLst/>
              <a:cxnLst>
                <a:cxn ang="0">
                  <a:pos x="204" y="722"/>
                </a:cxn>
                <a:cxn ang="0">
                  <a:pos x="0" y="0"/>
                </a:cxn>
                <a:cxn ang="0">
                  <a:pos x="125" y="0"/>
                </a:cxn>
                <a:cxn ang="0">
                  <a:pos x="277" y="588"/>
                </a:cxn>
                <a:cxn ang="0">
                  <a:pos x="412" y="0"/>
                </a:cxn>
                <a:cxn ang="0">
                  <a:pos x="535" y="0"/>
                </a:cxn>
                <a:cxn ang="0">
                  <a:pos x="676" y="588"/>
                </a:cxn>
                <a:cxn ang="0">
                  <a:pos x="829" y="0"/>
                </a:cxn>
                <a:cxn ang="0">
                  <a:pos x="930" y="0"/>
                </a:cxn>
                <a:cxn ang="0">
                  <a:pos x="726" y="722"/>
                </a:cxn>
                <a:cxn ang="0">
                  <a:pos x="604" y="722"/>
                </a:cxn>
                <a:cxn ang="0">
                  <a:pos x="495" y="255"/>
                </a:cxn>
                <a:cxn ang="0">
                  <a:pos x="468" y="107"/>
                </a:cxn>
                <a:cxn ang="0">
                  <a:pos x="441" y="254"/>
                </a:cxn>
                <a:cxn ang="0">
                  <a:pos x="332" y="722"/>
                </a:cxn>
                <a:cxn ang="0">
                  <a:pos x="204" y="722"/>
                </a:cxn>
              </a:cxnLst>
              <a:rect l="0" t="0" r="r" b="b"/>
              <a:pathLst>
                <a:path w="930" h="722">
                  <a:moveTo>
                    <a:pt x="204" y="722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277" y="588"/>
                    <a:pt x="277" y="588"/>
                    <a:pt x="277" y="588"/>
                  </a:cubicBezTo>
                  <a:cubicBezTo>
                    <a:pt x="412" y="0"/>
                    <a:pt x="412" y="0"/>
                    <a:pt x="412" y="0"/>
                  </a:cubicBezTo>
                  <a:cubicBezTo>
                    <a:pt x="535" y="0"/>
                    <a:pt x="535" y="0"/>
                    <a:pt x="535" y="0"/>
                  </a:cubicBezTo>
                  <a:cubicBezTo>
                    <a:pt x="676" y="588"/>
                    <a:pt x="676" y="588"/>
                    <a:pt x="676" y="588"/>
                  </a:cubicBezTo>
                  <a:cubicBezTo>
                    <a:pt x="829" y="0"/>
                    <a:pt x="829" y="0"/>
                    <a:pt x="829" y="0"/>
                  </a:cubicBezTo>
                  <a:cubicBezTo>
                    <a:pt x="930" y="0"/>
                    <a:pt x="930" y="0"/>
                    <a:pt x="930" y="0"/>
                  </a:cubicBezTo>
                  <a:cubicBezTo>
                    <a:pt x="726" y="722"/>
                    <a:pt x="726" y="722"/>
                    <a:pt x="726" y="722"/>
                  </a:cubicBezTo>
                  <a:cubicBezTo>
                    <a:pt x="604" y="722"/>
                    <a:pt x="604" y="722"/>
                    <a:pt x="604" y="722"/>
                  </a:cubicBezTo>
                  <a:cubicBezTo>
                    <a:pt x="495" y="255"/>
                    <a:pt x="495" y="255"/>
                    <a:pt x="495" y="255"/>
                  </a:cubicBezTo>
                  <a:cubicBezTo>
                    <a:pt x="488" y="221"/>
                    <a:pt x="479" y="172"/>
                    <a:pt x="468" y="107"/>
                  </a:cubicBezTo>
                  <a:cubicBezTo>
                    <a:pt x="460" y="159"/>
                    <a:pt x="451" y="208"/>
                    <a:pt x="441" y="254"/>
                  </a:cubicBezTo>
                  <a:cubicBezTo>
                    <a:pt x="332" y="722"/>
                    <a:pt x="332" y="722"/>
                    <a:pt x="332" y="722"/>
                  </a:cubicBezTo>
                  <a:lnTo>
                    <a:pt x="204" y="72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69" name="Freeform 68"/>
            <p:cNvSpPr>
              <a:spLocks noEditPoints="1"/>
            </p:cNvSpPr>
            <p:nvPr userDrawn="1"/>
          </p:nvSpPr>
          <p:spPr bwMode="gray">
            <a:xfrm>
              <a:off x="8475346" y="752475"/>
              <a:ext cx="14288" cy="87313"/>
            </a:xfrm>
            <a:custGeom>
              <a:avLst/>
              <a:gdLst/>
              <a:ahLst/>
              <a:cxnLst>
                <a:cxn ang="0">
                  <a:pos x="76" y="0"/>
                </a:cxn>
                <a:cxn ang="0">
                  <a:pos x="132" y="25"/>
                </a:cxn>
                <a:cxn ang="0">
                  <a:pos x="151" y="76"/>
                </a:cxn>
                <a:cxn ang="0">
                  <a:pos x="126" y="132"/>
                </a:cxn>
                <a:cxn ang="0">
                  <a:pos x="75" y="151"/>
                </a:cxn>
                <a:cxn ang="0">
                  <a:pos x="20" y="127"/>
                </a:cxn>
                <a:cxn ang="0">
                  <a:pos x="0" y="75"/>
                </a:cxn>
                <a:cxn ang="0">
                  <a:pos x="25" y="20"/>
                </a:cxn>
                <a:cxn ang="0">
                  <a:pos x="76" y="0"/>
                </a:cxn>
                <a:cxn ang="0">
                  <a:pos x="15" y="987"/>
                </a:cxn>
                <a:cxn ang="0">
                  <a:pos x="15" y="265"/>
                </a:cxn>
                <a:cxn ang="0">
                  <a:pos x="139" y="265"/>
                </a:cxn>
                <a:cxn ang="0">
                  <a:pos x="139" y="987"/>
                </a:cxn>
                <a:cxn ang="0">
                  <a:pos x="15" y="987"/>
                </a:cxn>
              </a:cxnLst>
              <a:rect l="0" t="0" r="r" b="b"/>
              <a:pathLst>
                <a:path w="151" h="987">
                  <a:moveTo>
                    <a:pt x="76" y="0"/>
                  </a:moveTo>
                  <a:cubicBezTo>
                    <a:pt x="98" y="0"/>
                    <a:pt x="117" y="9"/>
                    <a:pt x="132" y="25"/>
                  </a:cubicBezTo>
                  <a:cubicBezTo>
                    <a:pt x="145" y="40"/>
                    <a:pt x="151" y="57"/>
                    <a:pt x="151" y="76"/>
                  </a:cubicBezTo>
                  <a:cubicBezTo>
                    <a:pt x="151" y="98"/>
                    <a:pt x="143" y="117"/>
                    <a:pt x="126" y="132"/>
                  </a:cubicBezTo>
                  <a:cubicBezTo>
                    <a:pt x="112" y="145"/>
                    <a:pt x="95" y="151"/>
                    <a:pt x="75" y="151"/>
                  </a:cubicBezTo>
                  <a:cubicBezTo>
                    <a:pt x="53" y="151"/>
                    <a:pt x="34" y="143"/>
                    <a:pt x="20" y="127"/>
                  </a:cubicBezTo>
                  <a:cubicBezTo>
                    <a:pt x="7" y="112"/>
                    <a:pt x="0" y="95"/>
                    <a:pt x="0" y="75"/>
                  </a:cubicBezTo>
                  <a:cubicBezTo>
                    <a:pt x="0" y="53"/>
                    <a:pt x="9" y="35"/>
                    <a:pt x="25" y="20"/>
                  </a:cubicBezTo>
                  <a:cubicBezTo>
                    <a:pt x="39" y="7"/>
                    <a:pt x="56" y="0"/>
                    <a:pt x="76" y="0"/>
                  </a:cubicBezTo>
                  <a:close/>
                  <a:moveTo>
                    <a:pt x="15" y="987"/>
                  </a:moveTo>
                  <a:cubicBezTo>
                    <a:pt x="15" y="265"/>
                    <a:pt x="15" y="265"/>
                    <a:pt x="15" y="265"/>
                  </a:cubicBezTo>
                  <a:cubicBezTo>
                    <a:pt x="139" y="265"/>
                    <a:pt x="139" y="265"/>
                    <a:pt x="139" y="265"/>
                  </a:cubicBezTo>
                  <a:cubicBezTo>
                    <a:pt x="139" y="987"/>
                    <a:pt x="139" y="987"/>
                    <a:pt x="139" y="987"/>
                  </a:cubicBezTo>
                  <a:lnTo>
                    <a:pt x="15" y="9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70" name="Freeform 69"/>
            <p:cNvSpPr>
              <a:spLocks/>
            </p:cNvSpPr>
            <p:nvPr userDrawn="1"/>
          </p:nvSpPr>
          <p:spPr bwMode="gray">
            <a:xfrm>
              <a:off x="8508683" y="758825"/>
              <a:ext cx="28575" cy="8096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4" y="0"/>
                </a:cxn>
                <a:cxn ang="0">
                  <a:pos x="124" y="195"/>
                </a:cxn>
                <a:cxn ang="0">
                  <a:pos x="318" y="195"/>
                </a:cxn>
                <a:cxn ang="0">
                  <a:pos x="318" y="273"/>
                </a:cxn>
                <a:cxn ang="0">
                  <a:pos x="124" y="273"/>
                </a:cxn>
                <a:cxn ang="0">
                  <a:pos x="124" y="656"/>
                </a:cxn>
                <a:cxn ang="0">
                  <a:pos x="156" y="804"/>
                </a:cxn>
                <a:cxn ang="0">
                  <a:pos x="225" y="836"/>
                </a:cxn>
                <a:cxn ang="0">
                  <a:pos x="277" y="838"/>
                </a:cxn>
                <a:cxn ang="0">
                  <a:pos x="318" y="838"/>
                </a:cxn>
                <a:cxn ang="0">
                  <a:pos x="318" y="917"/>
                </a:cxn>
                <a:cxn ang="0">
                  <a:pos x="251" y="917"/>
                </a:cxn>
                <a:cxn ang="0">
                  <a:pos x="127" y="904"/>
                </a:cxn>
                <a:cxn ang="0">
                  <a:pos x="11" y="782"/>
                </a:cxn>
                <a:cxn ang="0">
                  <a:pos x="0" y="638"/>
                </a:cxn>
                <a:cxn ang="0">
                  <a:pos x="0" y="0"/>
                </a:cxn>
              </a:cxnLst>
              <a:rect l="0" t="0" r="r" b="b"/>
              <a:pathLst>
                <a:path w="318" h="917">
                  <a:moveTo>
                    <a:pt x="0" y="0"/>
                  </a:moveTo>
                  <a:cubicBezTo>
                    <a:pt x="124" y="0"/>
                    <a:pt x="124" y="0"/>
                    <a:pt x="124" y="0"/>
                  </a:cubicBezTo>
                  <a:cubicBezTo>
                    <a:pt x="124" y="195"/>
                    <a:pt x="124" y="195"/>
                    <a:pt x="124" y="195"/>
                  </a:cubicBezTo>
                  <a:cubicBezTo>
                    <a:pt x="318" y="195"/>
                    <a:pt x="318" y="195"/>
                    <a:pt x="318" y="195"/>
                  </a:cubicBezTo>
                  <a:cubicBezTo>
                    <a:pt x="318" y="273"/>
                    <a:pt x="318" y="273"/>
                    <a:pt x="318" y="273"/>
                  </a:cubicBezTo>
                  <a:cubicBezTo>
                    <a:pt x="124" y="273"/>
                    <a:pt x="124" y="273"/>
                    <a:pt x="124" y="273"/>
                  </a:cubicBezTo>
                  <a:cubicBezTo>
                    <a:pt x="124" y="656"/>
                    <a:pt x="124" y="656"/>
                    <a:pt x="124" y="656"/>
                  </a:cubicBezTo>
                  <a:cubicBezTo>
                    <a:pt x="124" y="729"/>
                    <a:pt x="135" y="778"/>
                    <a:pt x="156" y="804"/>
                  </a:cubicBezTo>
                  <a:cubicBezTo>
                    <a:pt x="171" y="821"/>
                    <a:pt x="194" y="832"/>
                    <a:pt x="225" y="836"/>
                  </a:cubicBezTo>
                  <a:cubicBezTo>
                    <a:pt x="235" y="837"/>
                    <a:pt x="252" y="838"/>
                    <a:pt x="277" y="838"/>
                  </a:cubicBezTo>
                  <a:cubicBezTo>
                    <a:pt x="318" y="838"/>
                    <a:pt x="318" y="838"/>
                    <a:pt x="318" y="838"/>
                  </a:cubicBezTo>
                  <a:cubicBezTo>
                    <a:pt x="318" y="917"/>
                    <a:pt x="318" y="917"/>
                    <a:pt x="318" y="917"/>
                  </a:cubicBezTo>
                  <a:cubicBezTo>
                    <a:pt x="251" y="917"/>
                    <a:pt x="251" y="917"/>
                    <a:pt x="251" y="917"/>
                  </a:cubicBezTo>
                  <a:cubicBezTo>
                    <a:pt x="198" y="917"/>
                    <a:pt x="157" y="913"/>
                    <a:pt x="127" y="904"/>
                  </a:cubicBezTo>
                  <a:cubicBezTo>
                    <a:pt x="64" y="887"/>
                    <a:pt x="25" y="846"/>
                    <a:pt x="11" y="782"/>
                  </a:cubicBezTo>
                  <a:cubicBezTo>
                    <a:pt x="4" y="747"/>
                    <a:pt x="0" y="699"/>
                    <a:pt x="0" y="638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71" name="Freeform 70"/>
            <p:cNvSpPr>
              <a:spLocks/>
            </p:cNvSpPr>
            <p:nvPr userDrawn="1"/>
          </p:nvSpPr>
          <p:spPr bwMode="gray">
            <a:xfrm>
              <a:off x="8549958" y="742950"/>
              <a:ext cx="49213" cy="96838"/>
            </a:xfrm>
            <a:custGeom>
              <a:avLst/>
              <a:gdLst/>
              <a:ahLst/>
              <a:cxnLst>
                <a:cxn ang="0">
                  <a:pos x="0" y="1087"/>
                </a:cxn>
                <a:cxn ang="0">
                  <a:pos x="0" y="0"/>
                </a:cxn>
                <a:cxn ang="0">
                  <a:pos x="124" y="0"/>
                </a:cxn>
                <a:cxn ang="0">
                  <a:pos x="124" y="382"/>
                </a:cxn>
                <a:cxn ang="0">
                  <a:pos x="306" y="345"/>
                </a:cxn>
                <a:cxn ang="0">
                  <a:pos x="526" y="458"/>
                </a:cxn>
                <a:cxn ang="0">
                  <a:pos x="548" y="644"/>
                </a:cxn>
                <a:cxn ang="0">
                  <a:pos x="548" y="1087"/>
                </a:cxn>
                <a:cxn ang="0">
                  <a:pos x="425" y="1087"/>
                </a:cxn>
                <a:cxn ang="0">
                  <a:pos x="425" y="624"/>
                </a:cxn>
                <a:cxn ang="0">
                  <a:pos x="403" y="477"/>
                </a:cxn>
                <a:cxn ang="0">
                  <a:pos x="294" y="419"/>
                </a:cxn>
                <a:cxn ang="0">
                  <a:pos x="124" y="463"/>
                </a:cxn>
                <a:cxn ang="0">
                  <a:pos x="124" y="1087"/>
                </a:cxn>
                <a:cxn ang="0">
                  <a:pos x="0" y="1087"/>
                </a:cxn>
              </a:cxnLst>
              <a:rect l="0" t="0" r="r" b="b"/>
              <a:pathLst>
                <a:path w="548" h="1087">
                  <a:moveTo>
                    <a:pt x="0" y="108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24" y="382"/>
                    <a:pt x="124" y="382"/>
                    <a:pt x="124" y="382"/>
                  </a:cubicBezTo>
                  <a:cubicBezTo>
                    <a:pt x="188" y="357"/>
                    <a:pt x="249" y="345"/>
                    <a:pt x="306" y="345"/>
                  </a:cubicBezTo>
                  <a:cubicBezTo>
                    <a:pt x="420" y="345"/>
                    <a:pt x="493" y="382"/>
                    <a:pt x="526" y="458"/>
                  </a:cubicBezTo>
                  <a:cubicBezTo>
                    <a:pt x="541" y="492"/>
                    <a:pt x="548" y="554"/>
                    <a:pt x="548" y="644"/>
                  </a:cubicBezTo>
                  <a:cubicBezTo>
                    <a:pt x="548" y="1087"/>
                    <a:pt x="548" y="1087"/>
                    <a:pt x="548" y="1087"/>
                  </a:cubicBezTo>
                  <a:cubicBezTo>
                    <a:pt x="425" y="1087"/>
                    <a:pt x="425" y="1087"/>
                    <a:pt x="425" y="1087"/>
                  </a:cubicBezTo>
                  <a:cubicBezTo>
                    <a:pt x="425" y="624"/>
                    <a:pt x="425" y="624"/>
                    <a:pt x="425" y="624"/>
                  </a:cubicBezTo>
                  <a:cubicBezTo>
                    <a:pt x="425" y="555"/>
                    <a:pt x="418" y="506"/>
                    <a:pt x="403" y="477"/>
                  </a:cubicBezTo>
                  <a:cubicBezTo>
                    <a:pt x="384" y="439"/>
                    <a:pt x="347" y="419"/>
                    <a:pt x="294" y="419"/>
                  </a:cubicBezTo>
                  <a:cubicBezTo>
                    <a:pt x="245" y="419"/>
                    <a:pt x="189" y="434"/>
                    <a:pt x="124" y="463"/>
                  </a:cubicBezTo>
                  <a:cubicBezTo>
                    <a:pt x="124" y="1087"/>
                    <a:pt x="124" y="1087"/>
                    <a:pt x="124" y="1087"/>
                  </a:cubicBezTo>
                  <a:lnTo>
                    <a:pt x="0" y="10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72" name="Freeform 71"/>
            <p:cNvSpPr>
              <a:spLocks/>
            </p:cNvSpPr>
            <p:nvPr userDrawn="1"/>
          </p:nvSpPr>
          <p:spPr bwMode="gray">
            <a:xfrm>
              <a:off x="8638858" y="774700"/>
              <a:ext cx="53975" cy="95250"/>
            </a:xfrm>
            <a:custGeom>
              <a:avLst/>
              <a:gdLst/>
              <a:ahLst/>
              <a:cxnLst>
                <a:cxn ang="0">
                  <a:pos x="15" y="41"/>
                </a:cxn>
                <a:cxn ang="0">
                  <a:pos x="0" y="0"/>
                </a:cxn>
                <a:cxn ang="0">
                  <a:pos x="7" y="0"/>
                </a:cxn>
                <a:cxn ang="0">
                  <a:pos x="18" y="33"/>
                </a:cxn>
                <a:cxn ang="0">
                  <a:pos x="28" y="0"/>
                </a:cxn>
                <a:cxn ang="0">
                  <a:pos x="34" y="0"/>
                </a:cxn>
                <a:cxn ang="0">
                  <a:pos x="14" y="60"/>
                </a:cxn>
                <a:cxn ang="0">
                  <a:pos x="8" y="60"/>
                </a:cxn>
                <a:cxn ang="0">
                  <a:pos x="15" y="41"/>
                </a:cxn>
              </a:cxnLst>
              <a:rect l="0" t="0" r="r" b="b"/>
              <a:pathLst>
                <a:path w="34" h="60">
                  <a:moveTo>
                    <a:pt x="15" y="41"/>
                  </a:moveTo>
                  <a:lnTo>
                    <a:pt x="0" y="0"/>
                  </a:lnTo>
                  <a:lnTo>
                    <a:pt x="7" y="0"/>
                  </a:lnTo>
                  <a:lnTo>
                    <a:pt x="18" y="33"/>
                  </a:lnTo>
                  <a:lnTo>
                    <a:pt x="28" y="0"/>
                  </a:lnTo>
                  <a:lnTo>
                    <a:pt x="34" y="0"/>
                  </a:lnTo>
                  <a:lnTo>
                    <a:pt x="14" y="60"/>
                  </a:lnTo>
                  <a:lnTo>
                    <a:pt x="8" y="60"/>
                  </a:lnTo>
                  <a:lnTo>
                    <a:pt x="15" y="4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73" name="Freeform 72"/>
            <p:cNvSpPr>
              <a:spLocks noEditPoints="1"/>
            </p:cNvSpPr>
            <p:nvPr userDrawn="1"/>
          </p:nvSpPr>
          <p:spPr bwMode="gray">
            <a:xfrm>
              <a:off x="8699183" y="773113"/>
              <a:ext cx="53975" cy="68263"/>
            </a:xfrm>
            <a:custGeom>
              <a:avLst/>
              <a:gdLst/>
              <a:ahLst/>
              <a:cxnLst>
                <a:cxn ang="0">
                  <a:pos x="304" y="0"/>
                </a:cxn>
                <a:cxn ang="0">
                  <a:pos x="534" y="103"/>
                </a:cxn>
                <a:cxn ang="0">
                  <a:pos x="607" y="381"/>
                </a:cxn>
                <a:cxn ang="0">
                  <a:pos x="534" y="659"/>
                </a:cxn>
                <a:cxn ang="0">
                  <a:pos x="304" y="762"/>
                </a:cxn>
                <a:cxn ang="0">
                  <a:pos x="0" y="375"/>
                </a:cxn>
                <a:cxn ang="0">
                  <a:pos x="73" y="103"/>
                </a:cxn>
                <a:cxn ang="0">
                  <a:pos x="304" y="0"/>
                </a:cxn>
                <a:cxn ang="0">
                  <a:pos x="304" y="74"/>
                </a:cxn>
                <a:cxn ang="0">
                  <a:pos x="159" y="168"/>
                </a:cxn>
                <a:cxn ang="0">
                  <a:pos x="126" y="377"/>
                </a:cxn>
                <a:cxn ang="0">
                  <a:pos x="159" y="593"/>
                </a:cxn>
                <a:cxn ang="0">
                  <a:pos x="304" y="687"/>
                </a:cxn>
                <a:cxn ang="0">
                  <a:pos x="448" y="593"/>
                </a:cxn>
                <a:cxn ang="0">
                  <a:pos x="481" y="380"/>
                </a:cxn>
                <a:cxn ang="0">
                  <a:pos x="448" y="168"/>
                </a:cxn>
                <a:cxn ang="0">
                  <a:pos x="304" y="74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4" y="762"/>
                  </a:cubicBezTo>
                  <a:cubicBezTo>
                    <a:pt x="101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5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5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74" name="Freeform 73"/>
            <p:cNvSpPr>
              <a:spLocks/>
            </p:cNvSpPr>
            <p:nvPr userDrawn="1"/>
          </p:nvSpPr>
          <p:spPr bwMode="gray">
            <a:xfrm>
              <a:off x="8769033" y="774700"/>
              <a:ext cx="46038" cy="666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3" y="0"/>
                </a:cxn>
                <a:cxn ang="0">
                  <a:pos x="123" y="445"/>
                </a:cxn>
                <a:cxn ang="0">
                  <a:pos x="145" y="609"/>
                </a:cxn>
                <a:cxn ang="0">
                  <a:pos x="197" y="656"/>
                </a:cxn>
                <a:cxn ang="0">
                  <a:pos x="276" y="667"/>
                </a:cxn>
                <a:cxn ang="0">
                  <a:pos x="403" y="648"/>
                </a:cxn>
                <a:cxn ang="0">
                  <a:pos x="403" y="0"/>
                </a:cxn>
                <a:cxn ang="0">
                  <a:pos x="527" y="0"/>
                </a:cxn>
                <a:cxn ang="0">
                  <a:pos x="527" y="710"/>
                </a:cxn>
                <a:cxn ang="0">
                  <a:pos x="269" y="742"/>
                </a:cxn>
                <a:cxn ang="0">
                  <a:pos x="86" y="703"/>
                </a:cxn>
                <a:cxn ang="0">
                  <a:pos x="6" y="567"/>
                </a:cxn>
                <a:cxn ang="0">
                  <a:pos x="0" y="454"/>
                </a:cxn>
                <a:cxn ang="0">
                  <a:pos x="0" y="0"/>
                </a:cxn>
              </a:cxnLst>
              <a:rect l="0" t="0" r="r" b="b"/>
              <a:pathLst>
                <a:path w="527" h="742">
                  <a:moveTo>
                    <a:pt x="0" y="0"/>
                  </a:moveTo>
                  <a:cubicBezTo>
                    <a:pt x="123" y="0"/>
                    <a:pt x="123" y="0"/>
                    <a:pt x="123" y="0"/>
                  </a:cubicBezTo>
                  <a:cubicBezTo>
                    <a:pt x="123" y="445"/>
                    <a:pt x="123" y="445"/>
                    <a:pt x="123" y="445"/>
                  </a:cubicBezTo>
                  <a:cubicBezTo>
                    <a:pt x="123" y="527"/>
                    <a:pt x="131" y="582"/>
                    <a:pt x="145" y="609"/>
                  </a:cubicBezTo>
                  <a:cubicBezTo>
                    <a:pt x="157" y="632"/>
                    <a:pt x="174" y="648"/>
                    <a:pt x="197" y="656"/>
                  </a:cubicBezTo>
                  <a:cubicBezTo>
                    <a:pt x="216" y="663"/>
                    <a:pt x="242" y="667"/>
                    <a:pt x="276" y="667"/>
                  </a:cubicBezTo>
                  <a:cubicBezTo>
                    <a:pt x="317" y="667"/>
                    <a:pt x="359" y="661"/>
                    <a:pt x="403" y="648"/>
                  </a:cubicBezTo>
                  <a:cubicBezTo>
                    <a:pt x="403" y="0"/>
                    <a:pt x="403" y="0"/>
                    <a:pt x="403" y="0"/>
                  </a:cubicBezTo>
                  <a:cubicBezTo>
                    <a:pt x="527" y="0"/>
                    <a:pt x="527" y="0"/>
                    <a:pt x="527" y="0"/>
                  </a:cubicBezTo>
                  <a:cubicBezTo>
                    <a:pt x="527" y="710"/>
                    <a:pt x="527" y="710"/>
                    <a:pt x="527" y="710"/>
                  </a:cubicBezTo>
                  <a:cubicBezTo>
                    <a:pt x="435" y="731"/>
                    <a:pt x="349" y="742"/>
                    <a:pt x="269" y="742"/>
                  </a:cubicBezTo>
                  <a:cubicBezTo>
                    <a:pt x="187" y="742"/>
                    <a:pt x="126" y="729"/>
                    <a:pt x="86" y="703"/>
                  </a:cubicBezTo>
                  <a:cubicBezTo>
                    <a:pt x="41" y="674"/>
                    <a:pt x="14" y="629"/>
                    <a:pt x="6" y="567"/>
                  </a:cubicBezTo>
                  <a:cubicBezTo>
                    <a:pt x="2" y="539"/>
                    <a:pt x="0" y="501"/>
                    <a:pt x="0" y="45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grpSp>
          <p:nvGrpSpPr>
            <p:cNvPr id="75" name="Group 129"/>
            <p:cNvGrpSpPr/>
            <p:nvPr userDrawn="1"/>
          </p:nvGrpSpPr>
          <p:grpSpPr bwMode="gray">
            <a:xfrm>
              <a:off x="7792721" y="157163"/>
              <a:ext cx="1038225" cy="504825"/>
              <a:chOff x="7792721" y="157163"/>
              <a:chExt cx="1038225" cy="504825"/>
            </a:xfrm>
          </p:grpSpPr>
          <p:sp>
            <p:nvSpPr>
              <p:cNvPr id="76" name="Freeform 71"/>
              <p:cNvSpPr>
                <a:spLocks/>
              </p:cNvSpPr>
              <p:nvPr userDrawn="1"/>
            </p:nvSpPr>
            <p:spPr bwMode="gray">
              <a:xfrm>
                <a:off x="8135621" y="157163"/>
                <a:ext cx="209550" cy="161925"/>
              </a:xfrm>
              <a:custGeom>
                <a:avLst/>
                <a:gdLst/>
                <a:ahLst/>
                <a:cxnLst>
                  <a:cxn ang="0">
                    <a:pos x="961" y="764"/>
                  </a:cxn>
                  <a:cxn ang="0">
                    <a:pos x="599" y="642"/>
                  </a:cxn>
                  <a:cxn ang="0">
                    <a:pos x="1" y="1235"/>
                  </a:cxn>
                  <a:cxn ang="0">
                    <a:pos x="599" y="1825"/>
                  </a:cxn>
                  <a:cxn ang="0">
                    <a:pos x="1053" y="1619"/>
                  </a:cxn>
                  <a:cxn ang="0">
                    <a:pos x="1053" y="1293"/>
                  </a:cxn>
                  <a:cxn ang="0">
                    <a:pos x="771" y="1568"/>
                  </a:cxn>
                  <a:cxn ang="0">
                    <a:pos x="599" y="1604"/>
                  </a:cxn>
                  <a:cxn ang="0">
                    <a:pos x="225" y="1235"/>
                  </a:cxn>
                  <a:cxn ang="0">
                    <a:pos x="599" y="863"/>
                  </a:cxn>
                  <a:cxn ang="0">
                    <a:pos x="861" y="972"/>
                  </a:cxn>
                  <a:cxn ang="0">
                    <a:pos x="1093" y="1239"/>
                  </a:cxn>
                  <a:cxn ang="0">
                    <a:pos x="1630" y="1473"/>
                  </a:cxn>
                  <a:cxn ang="0">
                    <a:pos x="2365" y="741"/>
                  </a:cxn>
                  <a:cxn ang="0">
                    <a:pos x="1630" y="0"/>
                  </a:cxn>
                  <a:cxn ang="0">
                    <a:pos x="1053" y="295"/>
                  </a:cxn>
                  <a:cxn ang="0">
                    <a:pos x="1053" y="735"/>
                  </a:cxn>
                  <a:cxn ang="0">
                    <a:pos x="1630" y="232"/>
                  </a:cxn>
                  <a:cxn ang="0">
                    <a:pos x="2134" y="741"/>
                  </a:cxn>
                  <a:cxn ang="0">
                    <a:pos x="1630" y="1245"/>
                  </a:cxn>
                  <a:cxn ang="0">
                    <a:pos x="1303" y="1125"/>
                  </a:cxn>
                  <a:cxn ang="0">
                    <a:pos x="961" y="764"/>
                  </a:cxn>
                </a:cxnLst>
                <a:rect l="0" t="0" r="r" b="b"/>
                <a:pathLst>
                  <a:path w="2365" h="1825">
                    <a:moveTo>
                      <a:pt x="961" y="764"/>
                    </a:moveTo>
                    <a:cubicBezTo>
                      <a:pt x="875" y="688"/>
                      <a:pt x="736" y="643"/>
                      <a:pt x="599" y="642"/>
                    </a:cubicBezTo>
                    <a:cubicBezTo>
                      <a:pt x="270" y="641"/>
                      <a:pt x="2" y="900"/>
                      <a:pt x="1" y="1235"/>
                    </a:cubicBezTo>
                    <a:cubicBezTo>
                      <a:pt x="0" y="1563"/>
                      <a:pt x="270" y="1824"/>
                      <a:pt x="599" y="1825"/>
                    </a:cubicBezTo>
                    <a:cubicBezTo>
                      <a:pt x="783" y="1825"/>
                      <a:pt x="943" y="1751"/>
                      <a:pt x="1053" y="1619"/>
                    </a:cubicBezTo>
                    <a:cubicBezTo>
                      <a:pt x="1053" y="1293"/>
                      <a:pt x="1053" y="1293"/>
                      <a:pt x="1053" y="1293"/>
                    </a:cubicBezTo>
                    <a:cubicBezTo>
                      <a:pt x="994" y="1394"/>
                      <a:pt x="877" y="1524"/>
                      <a:pt x="771" y="1568"/>
                    </a:cubicBezTo>
                    <a:cubicBezTo>
                      <a:pt x="717" y="1590"/>
                      <a:pt x="662" y="1604"/>
                      <a:pt x="599" y="1604"/>
                    </a:cubicBezTo>
                    <a:cubicBezTo>
                      <a:pt x="394" y="1604"/>
                      <a:pt x="225" y="1445"/>
                      <a:pt x="225" y="1235"/>
                    </a:cubicBezTo>
                    <a:cubicBezTo>
                      <a:pt x="225" y="1041"/>
                      <a:pt x="380" y="862"/>
                      <a:pt x="599" y="863"/>
                    </a:cubicBezTo>
                    <a:cubicBezTo>
                      <a:pt x="701" y="863"/>
                      <a:pt x="793" y="905"/>
                      <a:pt x="861" y="972"/>
                    </a:cubicBezTo>
                    <a:cubicBezTo>
                      <a:pt x="931" y="1040"/>
                      <a:pt x="1041" y="1183"/>
                      <a:pt x="1093" y="1239"/>
                    </a:cubicBezTo>
                    <a:cubicBezTo>
                      <a:pt x="1227" y="1383"/>
                      <a:pt x="1419" y="1473"/>
                      <a:pt x="1630" y="1473"/>
                    </a:cubicBezTo>
                    <a:cubicBezTo>
                      <a:pt x="2036" y="1474"/>
                      <a:pt x="2365" y="1146"/>
                      <a:pt x="2365" y="741"/>
                    </a:cubicBezTo>
                    <a:cubicBezTo>
                      <a:pt x="2365" y="336"/>
                      <a:pt x="2035" y="0"/>
                      <a:pt x="1630" y="0"/>
                    </a:cubicBezTo>
                    <a:cubicBezTo>
                      <a:pt x="1395" y="0"/>
                      <a:pt x="1187" y="122"/>
                      <a:pt x="1053" y="295"/>
                    </a:cubicBezTo>
                    <a:cubicBezTo>
                      <a:pt x="1053" y="735"/>
                      <a:pt x="1053" y="735"/>
                      <a:pt x="1053" y="735"/>
                    </a:cubicBezTo>
                    <a:cubicBezTo>
                      <a:pt x="1155" y="455"/>
                      <a:pt x="1340" y="232"/>
                      <a:pt x="1630" y="232"/>
                    </a:cubicBezTo>
                    <a:cubicBezTo>
                      <a:pt x="1909" y="232"/>
                      <a:pt x="2135" y="463"/>
                      <a:pt x="2134" y="741"/>
                    </a:cubicBezTo>
                    <a:cubicBezTo>
                      <a:pt x="2134" y="1020"/>
                      <a:pt x="1909" y="1246"/>
                      <a:pt x="1630" y="1245"/>
                    </a:cubicBezTo>
                    <a:cubicBezTo>
                      <a:pt x="1506" y="1244"/>
                      <a:pt x="1391" y="1199"/>
                      <a:pt x="1303" y="1125"/>
                    </a:cubicBezTo>
                    <a:cubicBezTo>
                      <a:pt x="1194" y="1040"/>
                      <a:pt x="1074" y="860"/>
                      <a:pt x="961" y="764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noProof="0" dirty="0"/>
              </a:p>
            </p:txBody>
          </p:sp>
          <p:sp>
            <p:nvSpPr>
              <p:cNvPr id="77" name="Freeform 72"/>
              <p:cNvSpPr>
                <a:spLocks/>
              </p:cNvSpPr>
              <p:nvPr userDrawn="1"/>
            </p:nvSpPr>
            <p:spPr bwMode="gray">
              <a:xfrm>
                <a:off x="7792721" y="333375"/>
                <a:ext cx="144463" cy="23495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624" y="0"/>
                  </a:cxn>
                  <a:cxn ang="0">
                    <a:pos x="1624" y="452"/>
                  </a:cxn>
                  <a:cxn ang="0">
                    <a:pos x="1365" y="273"/>
                  </a:cxn>
                  <a:cxn ang="0">
                    <a:pos x="613" y="273"/>
                  </a:cxn>
                  <a:cxn ang="0">
                    <a:pos x="613" y="1053"/>
                  </a:cxn>
                  <a:cxn ang="0">
                    <a:pos x="1428" y="1053"/>
                  </a:cxn>
                  <a:cxn ang="0">
                    <a:pos x="1428" y="1467"/>
                  </a:cxn>
                  <a:cxn ang="0">
                    <a:pos x="1205" y="1335"/>
                  </a:cxn>
                  <a:cxn ang="0">
                    <a:pos x="613" y="1335"/>
                  </a:cxn>
                  <a:cxn ang="0">
                    <a:pos x="613" y="2401"/>
                  </a:cxn>
                  <a:cxn ang="0">
                    <a:pos x="784" y="2651"/>
                  </a:cxn>
                  <a:cxn ang="0">
                    <a:pos x="11" y="2651"/>
                  </a:cxn>
                  <a:cxn ang="0">
                    <a:pos x="173" y="2401"/>
                  </a:cxn>
                  <a:cxn ang="0">
                    <a:pos x="173" y="278"/>
                  </a:cxn>
                  <a:cxn ang="0">
                    <a:pos x="0" y="0"/>
                  </a:cxn>
                </a:cxnLst>
                <a:rect l="0" t="0" r="r" b="b"/>
                <a:pathLst>
                  <a:path w="1624" h="2651">
                    <a:moveTo>
                      <a:pt x="0" y="0"/>
                    </a:moveTo>
                    <a:cubicBezTo>
                      <a:pt x="1624" y="0"/>
                      <a:pt x="1624" y="0"/>
                      <a:pt x="1624" y="0"/>
                    </a:cubicBezTo>
                    <a:cubicBezTo>
                      <a:pt x="1624" y="452"/>
                      <a:pt x="1624" y="452"/>
                      <a:pt x="1624" y="452"/>
                    </a:cubicBezTo>
                    <a:cubicBezTo>
                      <a:pt x="1624" y="452"/>
                      <a:pt x="1540" y="274"/>
                      <a:pt x="1365" y="273"/>
                    </a:cubicBezTo>
                    <a:cubicBezTo>
                      <a:pt x="613" y="273"/>
                      <a:pt x="613" y="273"/>
                      <a:pt x="613" y="273"/>
                    </a:cubicBezTo>
                    <a:cubicBezTo>
                      <a:pt x="613" y="1053"/>
                      <a:pt x="613" y="1053"/>
                      <a:pt x="613" y="1053"/>
                    </a:cubicBezTo>
                    <a:cubicBezTo>
                      <a:pt x="1428" y="1053"/>
                      <a:pt x="1428" y="1053"/>
                      <a:pt x="1428" y="1053"/>
                    </a:cubicBezTo>
                    <a:cubicBezTo>
                      <a:pt x="1428" y="1467"/>
                      <a:pt x="1428" y="1467"/>
                      <a:pt x="1428" y="1467"/>
                    </a:cubicBezTo>
                    <a:cubicBezTo>
                      <a:pt x="1428" y="1467"/>
                      <a:pt x="1402" y="1335"/>
                      <a:pt x="1205" y="1335"/>
                    </a:cubicBezTo>
                    <a:cubicBezTo>
                      <a:pt x="613" y="1335"/>
                      <a:pt x="613" y="1335"/>
                      <a:pt x="613" y="1335"/>
                    </a:cubicBezTo>
                    <a:cubicBezTo>
                      <a:pt x="613" y="2401"/>
                      <a:pt x="613" y="2401"/>
                      <a:pt x="613" y="2401"/>
                    </a:cubicBezTo>
                    <a:cubicBezTo>
                      <a:pt x="613" y="2558"/>
                      <a:pt x="784" y="2651"/>
                      <a:pt x="784" y="2651"/>
                    </a:cubicBezTo>
                    <a:cubicBezTo>
                      <a:pt x="11" y="2651"/>
                      <a:pt x="11" y="2651"/>
                      <a:pt x="11" y="2651"/>
                    </a:cubicBezTo>
                    <a:cubicBezTo>
                      <a:pt x="11" y="2651"/>
                      <a:pt x="173" y="2569"/>
                      <a:pt x="173" y="2401"/>
                    </a:cubicBezTo>
                    <a:cubicBezTo>
                      <a:pt x="173" y="278"/>
                      <a:pt x="173" y="278"/>
                      <a:pt x="173" y="278"/>
                    </a:cubicBezTo>
                    <a:cubicBezTo>
                      <a:pt x="173" y="99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noProof="0" dirty="0"/>
              </a:p>
            </p:txBody>
          </p:sp>
          <p:sp>
            <p:nvSpPr>
              <p:cNvPr id="78" name="Freeform 73"/>
              <p:cNvSpPr>
                <a:spLocks/>
              </p:cNvSpPr>
              <p:nvPr userDrawn="1"/>
            </p:nvSpPr>
            <p:spPr bwMode="gray">
              <a:xfrm>
                <a:off x="8134033" y="333375"/>
                <a:ext cx="95250" cy="328613"/>
              </a:xfrm>
              <a:custGeom>
                <a:avLst/>
                <a:gdLst/>
                <a:ahLst/>
                <a:cxnLst>
                  <a:cxn ang="0">
                    <a:pos x="246" y="0"/>
                  </a:cxn>
                  <a:cxn ang="0">
                    <a:pos x="1072" y="0"/>
                  </a:cxn>
                  <a:cxn ang="0">
                    <a:pos x="887" y="230"/>
                  </a:cxn>
                  <a:cxn ang="0">
                    <a:pos x="887" y="2717"/>
                  </a:cxn>
                  <a:cxn ang="0">
                    <a:pos x="0" y="3693"/>
                  </a:cxn>
                  <a:cxn ang="0">
                    <a:pos x="423" y="2717"/>
                  </a:cxn>
                  <a:cxn ang="0">
                    <a:pos x="423" y="230"/>
                  </a:cxn>
                  <a:cxn ang="0">
                    <a:pos x="246" y="0"/>
                  </a:cxn>
                </a:cxnLst>
                <a:rect l="0" t="0" r="r" b="b"/>
                <a:pathLst>
                  <a:path w="1072" h="3696">
                    <a:moveTo>
                      <a:pt x="246" y="0"/>
                    </a:moveTo>
                    <a:cubicBezTo>
                      <a:pt x="1072" y="0"/>
                      <a:pt x="1072" y="0"/>
                      <a:pt x="1072" y="0"/>
                    </a:cubicBezTo>
                    <a:cubicBezTo>
                      <a:pt x="1072" y="0"/>
                      <a:pt x="887" y="87"/>
                      <a:pt x="887" y="230"/>
                    </a:cubicBezTo>
                    <a:cubicBezTo>
                      <a:pt x="887" y="2717"/>
                      <a:pt x="887" y="2717"/>
                      <a:pt x="887" y="2717"/>
                    </a:cubicBezTo>
                    <a:cubicBezTo>
                      <a:pt x="887" y="3558"/>
                      <a:pt x="44" y="3696"/>
                      <a:pt x="0" y="3693"/>
                    </a:cubicBezTo>
                    <a:cubicBezTo>
                      <a:pt x="72" y="3647"/>
                      <a:pt x="422" y="3349"/>
                      <a:pt x="423" y="2717"/>
                    </a:cubicBezTo>
                    <a:cubicBezTo>
                      <a:pt x="423" y="230"/>
                      <a:pt x="423" y="230"/>
                      <a:pt x="423" y="230"/>
                    </a:cubicBezTo>
                    <a:cubicBezTo>
                      <a:pt x="424" y="96"/>
                      <a:pt x="246" y="0"/>
                      <a:pt x="246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noProof="0" dirty="0"/>
              </a:p>
            </p:txBody>
          </p:sp>
          <p:sp>
            <p:nvSpPr>
              <p:cNvPr id="79" name="Freeform 74"/>
              <p:cNvSpPr>
                <a:spLocks/>
              </p:cNvSpPr>
              <p:nvPr userDrawn="1"/>
            </p:nvSpPr>
            <p:spPr bwMode="gray">
              <a:xfrm>
                <a:off x="8238808" y="333375"/>
                <a:ext cx="74613" cy="23495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828" y="0"/>
                  </a:cxn>
                  <a:cxn ang="0">
                    <a:pos x="645" y="235"/>
                  </a:cxn>
                  <a:cxn ang="0">
                    <a:pos x="645" y="2401"/>
                  </a:cxn>
                  <a:cxn ang="0">
                    <a:pos x="828" y="2653"/>
                  </a:cxn>
                  <a:cxn ang="0">
                    <a:pos x="0" y="2653"/>
                  </a:cxn>
                  <a:cxn ang="0">
                    <a:pos x="184" y="2401"/>
                  </a:cxn>
                  <a:cxn ang="0">
                    <a:pos x="184" y="235"/>
                  </a:cxn>
                  <a:cxn ang="0">
                    <a:pos x="0" y="0"/>
                  </a:cxn>
                </a:cxnLst>
                <a:rect l="0" t="0" r="r" b="b"/>
                <a:pathLst>
                  <a:path w="828" h="2653">
                    <a:moveTo>
                      <a:pt x="0" y="0"/>
                    </a:moveTo>
                    <a:cubicBezTo>
                      <a:pt x="828" y="0"/>
                      <a:pt x="828" y="0"/>
                      <a:pt x="828" y="0"/>
                    </a:cubicBezTo>
                    <a:cubicBezTo>
                      <a:pt x="828" y="0"/>
                      <a:pt x="645" y="89"/>
                      <a:pt x="645" y="235"/>
                    </a:cubicBezTo>
                    <a:cubicBezTo>
                      <a:pt x="645" y="2401"/>
                      <a:pt x="645" y="2401"/>
                      <a:pt x="645" y="2401"/>
                    </a:cubicBezTo>
                    <a:cubicBezTo>
                      <a:pt x="645" y="2556"/>
                      <a:pt x="828" y="2653"/>
                      <a:pt x="828" y="2653"/>
                    </a:cubicBezTo>
                    <a:cubicBezTo>
                      <a:pt x="0" y="2653"/>
                      <a:pt x="0" y="2653"/>
                      <a:pt x="0" y="2653"/>
                    </a:cubicBezTo>
                    <a:cubicBezTo>
                      <a:pt x="0" y="2653"/>
                      <a:pt x="184" y="2557"/>
                      <a:pt x="184" y="2401"/>
                    </a:cubicBezTo>
                    <a:cubicBezTo>
                      <a:pt x="184" y="235"/>
                      <a:pt x="184" y="235"/>
                      <a:pt x="184" y="235"/>
                    </a:cubicBezTo>
                    <a:cubicBezTo>
                      <a:pt x="184" y="89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noProof="0" dirty="0"/>
              </a:p>
            </p:txBody>
          </p:sp>
          <p:sp>
            <p:nvSpPr>
              <p:cNvPr id="80" name="Freeform 75"/>
              <p:cNvSpPr>
                <a:spLocks/>
              </p:cNvSpPr>
              <p:nvPr userDrawn="1"/>
            </p:nvSpPr>
            <p:spPr bwMode="gray">
              <a:xfrm>
                <a:off x="8313421" y="333375"/>
                <a:ext cx="176213" cy="234950"/>
              </a:xfrm>
              <a:custGeom>
                <a:avLst/>
                <a:gdLst/>
                <a:ahLst/>
                <a:cxnLst>
                  <a:cxn ang="0">
                    <a:pos x="161" y="0"/>
                  </a:cxn>
                  <a:cxn ang="0">
                    <a:pos x="1984" y="0"/>
                  </a:cxn>
                  <a:cxn ang="0">
                    <a:pos x="1829" y="482"/>
                  </a:cxn>
                  <a:cxn ang="0">
                    <a:pos x="1607" y="279"/>
                  </a:cxn>
                  <a:cxn ang="0">
                    <a:pos x="1229" y="279"/>
                  </a:cxn>
                  <a:cxn ang="0">
                    <a:pos x="1229" y="2401"/>
                  </a:cxn>
                  <a:cxn ang="0">
                    <a:pos x="1407" y="2651"/>
                  </a:cxn>
                  <a:cxn ang="0">
                    <a:pos x="595" y="2651"/>
                  </a:cxn>
                  <a:cxn ang="0">
                    <a:pos x="771" y="2401"/>
                  </a:cxn>
                  <a:cxn ang="0">
                    <a:pos x="771" y="279"/>
                  </a:cxn>
                  <a:cxn ang="0">
                    <a:pos x="315" y="279"/>
                  </a:cxn>
                  <a:cxn ang="0">
                    <a:pos x="0" y="522"/>
                  </a:cxn>
                  <a:cxn ang="0">
                    <a:pos x="161" y="0"/>
                  </a:cxn>
                </a:cxnLst>
                <a:rect l="0" t="0" r="r" b="b"/>
                <a:pathLst>
                  <a:path w="1984" h="2651">
                    <a:moveTo>
                      <a:pt x="161" y="0"/>
                    </a:moveTo>
                    <a:cubicBezTo>
                      <a:pt x="1984" y="0"/>
                      <a:pt x="1984" y="0"/>
                      <a:pt x="1984" y="0"/>
                    </a:cubicBezTo>
                    <a:cubicBezTo>
                      <a:pt x="1829" y="482"/>
                      <a:pt x="1829" y="482"/>
                      <a:pt x="1829" y="482"/>
                    </a:cubicBezTo>
                    <a:cubicBezTo>
                      <a:pt x="1829" y="482"/>
                      <a:pt x="1783" y="279"/>
                      <a:pt x="1607" y="279"/>
                    </a:cubicBezTo>
                    <a:cubicBezTo>
                      <a:pt x="1229" y="279"/>
                      <a:pt x="1229" y="279"/>
                      <a:pt x="1229" y="279"/>
                    </a:cubicBezTo>
                    <a:cubicBezTo>
                      <a:pt x="1229" y="2401"/>
                      <a:pt x="1229" y="2401"/>
                      <a:pt x="1229" y="2401"/>
                    </a:cubicBezTo>
                    <a:cubicBezTo>
                      <a:pt x="1229" y="2535"/>
                      <a:pt x="1407" y="2651"/>
                      <a:pt x="1407" y="2651"/>
                    </a:cubicBezTo>
                    <a:cubicBezTo>
                      <a:pt x="595" y="2651"/>
                      <a:pt x="595" y="2651"/>
                      <a:pt x="595" y="2651"/>
                    </a:cubicBezTo>
                    <a:cubicBezTo>
                      <a:pt x="595" y="2651"/>
                      <a:pt x="771" y="2547"/>
                      <a:pt x="771" y="2401"/>
                    </a:cubicBezTo>
                    <a:cubicBezTo>
                      <a:pt x="771" y="279"/>
                      <a:pt x="771" y="279"/>
                      <a:pt x="771" y="279"/>
                    </a:cubicBezTo>
                    <a:cubicBezTo>
                      <a:pt x="315" y="279"/>
                      <a:pt x="315" y="279"/>
                      <a:pt x="315" y="279"/>
                    </a:cubicBezTo>
                    <a:cubicBezTo>
                      <a:pt x="185" y="280"/>
                      <a:pt x="0" y="522"/>
                      <a:pt x="0" y="522"/>
                    </a:cubicBezTo>
                    <a:lnTo>
                      <a:pt x="161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noProof="0" dirty="0"/>
              </a:p>
            </p:txBody>
          </p:sp>
          <p:sp>
            <p:nvSpPr>
              <p:cNvPr id="81" name="Freeform 76"/>
              <p:cNvSpPr>
                <a:spLocks/>
              </p:cNvSpPr>
              <p:nvPr userDrawn="1"/>
            </p:nvSpPr>
            <p:spPr bwMode="gray">
              <a:xfrm>
                <a:off x="8634096" y="333375"/>
                <a:ext cx="196850" cy="239713"/>
              </a:xfrm>
              <a:custGeom>
                <a:avLst/>
                <a:gdLst/>
                <a:ahLst/>
                <a:cxnLst>
                  <a:cxn ang="0">
                    <a:pos x="1420" y="0"/>
                  </a:cxn>
                  <a:cxn ang="0">
                    <a:pos x="2219" y="0"/>
                  </a:cxn>
                  <a:cxn ang="0">
                    <a:pos x="2048" y="234"/>
                  </a:cxn>
                  <a:cxn ang="0">
                    <a:pos x="2048" y="1840"/>
                  </a:cxn>
                  <a:cxn ang="0">
                    <a:pos x="1131" y="2693"/>
                  </a:cxn>
                  <a:cxn ang="0">
                    <a:pos x="176" y="1840"/>
                  </a:cxn>
                  <a:cxn ang="0">
                    <a:pos x="176" y="234"/>
                  </a:cxn>
                  <a:cxn ang="0">
                    <a:pos x="0" y="0"/>
                  </a:cxn>
                  <a:cxn ang="0">
                    <a:pos x="821" y="0"/>
                  </a:cxn>
                  <a:cxn ang="0">
                    <a:pos x="638" y="234"/>
                  </a:cxn>
                  <a:cxn ang="0">
                    <a:pos x="638" y="1840"/>
                  </a:cxn>
                  <a:cxn ang="0">
                    <a:pos x="1131" y="2406"/>
                  </a:cxn>
                  <a:cxn ang="0">
                    <a:pos x="1601" y="1840"/>
                  </a:cxn>
                  <a:cxn ang="0">
                    <a:pos x="1601" y="234"/>
                  </a:cxn>
                  <a:cxn ang="0">
                    <a:pos x="1420" y="0"/>
                  </a:cxn>
                </a:cxnLst>
                <a:rect l="0" t="0" r="r" b="b"/>
                <a:pathLst>
                  <a:path w="2219" h="2693">
                    <a:moveTo>
                      <a:pt x="1420" y="0"/>
                    </a:moveTo>
                    <a:cubicBezTo>
                      <a:pt x="2219" y="0"/>
                      <a:pt x="2219" y="0"/>
                      <a:pt x="2219" y="0"/>
                    </a:cubicBezTo>
                    <a:cubicBezTo>
                      <a:pt x="2219" y="0"/>
                      <a:pt x="2048" y="91"/>
                      <a:pt x="2048" y="234"/>
                    </a:cubicBezTo>
                    <a:cubicBezTo>
                      <a:pt x="2048" y="1840"/>
                      <a:pt x="2048" y="1840"/>
                      <a:pt x="2048" y="1840"/>
                    </a:cubicBezTo>
                    <a:cubicBezTo>
                      <a:pt x="2047" y="2492"/>
                      <a:pt x="1506" y="2693"/>
                      <a:pt x="1131" y="2693"/>
                    </a:cubicBezTo>
                    <a:cubicBezTo>
                      <a:pt x="759" y="2693"/>
                      <a:pt x="175" y="2490"/>
                      <a:pt x="176" y="1840"/>
                    </a:cubicBezTo>
                    <a:cubicBezTo>
                      <a:pt x="176" y="234"/>
                      <a:pt x="176" y="234"/>
                      <a:pt x="176" y="234"/>
                    </a:cubicBezTo>
                    <a:cubicBezTo>
                      <a:pt x="176" y="91"/>
                      <a:pt x="0" y="0"/>
                      <a:pt x="0" y="0"/>
                    </a:cubicBezTo>
                    <a:cubicBezTo>
                      <a:pt x="821" y="0"/>
                      <a:pt x="821" y="0"/>
                      <a:pt x="821" y="0"/>
                    </a:cubicBezTo>
                    <a:cubicBezTo>
                      <a:pt x="821" y="0"/>
                      <a:pt x="638" y="88"/>
                      <a:pt x="638" y="234"/>
                    </a:cubicBezTo>
                    <a:cubicBezTo>
                      <a:pt x="638" y="1840"/>
                      <a:pt x="638" y="1840"/>
                      <a:pt x="638" y="1840"/>
                    </a:cubicBezTo>
                    <a:cubicBezTo>
                      <a:pt x="638" y="2182"/>
                      <a:pt x="865" y="2406"/>
                      <a:pt x="1131" y="2406"/>
                    </a:cubicBezTo>
                    <a:cubicBezTo>
                      <a:pt x="1397" y="2406"/>
                      <a:pt x="1600" y="2173"/>
                      <a:pt x="1601" y="1840"/>
                    </a:cubicBezTo>
                    <a:cubicBezTo>
                      <a:pt x="1601" y="234"/>
                      <a:pt x="1601" y="234"/>
                      <a:pt x="1601" y="234"/>
                    </a:cubicBezTo>
                    <a:cubicBezTo>
                      <a:pt x="1601" y="91"/>
                      <a:pt x="1420" y="0"/>
                      <a:pt x="142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noProof="0" dirty="0"/>
              </a:p>
            </p:txBody>
          </p:sp>
          <p:sp>
            <p:nvSpPr>
              <p:cNvPr id="82" name="Freeform 77"/>
              <p:cNvSpPr>
                <a:spLocks/>
              </p:cNvSpPr>
              <p:nvPr userDrawn="1"/>
            </p:nvSpPr>
            <p:spPr bwMode="gray">
              <a:xfrm>
                <a:off x="7943533" y="333375"/>
                <a:ext cx="198438" cy="239713"/>
              </a:xfrm>
              <a:custGeom>
                <a:avLst/>
                <a:gdLst/>
                <a:ahLst/>
                <a:cxnLst>
                  <a:cxn ang="0">
                    <a:pos x="1427" y="0"/>
                  </a:cxn>
                  <a:cxn ang="0">
                    <a:pos x="2240" y="0"/>
                  </a:cxn>
                  <a:cxn ang="0">
                    <a:pos x="2068" y="237"/>
                  </a:cxn>
                  <a:cxn ang="0">
                    <a:pos x="2067" y="1838"/>
                  </a:cxn>
                  <a:cxn ang="0">
                    <a:pos x="1122" y="2700"/>
                  </a:cxn>
                  <a:cxn ang="0">
                    <a:pos x="166" y="1838"/>
                  </a:cxn>
                  <a:cxn ang="0">
                    <a:pos x="166" y="237"/>
                  </a:cxn>
                  <a:cxn ang="0">
                    <a:pos x="0" y="0"/>
                  </a:cxn>
                  <a:cxn ang="0">
                    <a:pos x="821" y="0"/>
                  </a:cxn>
                  <a:cxn ang="0">
                    <a:pos x="631" y="237"/>
                  </a:cxn>
                  <a:cxn ang="0">
                    <a:pos x="630" y="1838"/>
                  </a:cxn>
                  <a:cxn ang="0">
                    <a:pos x="1122" y="2413"/>
                  </a:cxn>
                  <a:cxn ang="0">
                    <a:pos x="1602" y="1838"/>
                  </a:cxn>
                  <a:cxn ang="0">
                    <a:pos x="1603" y="237"/>
                  </a:cxn>
                  <a:cxn ang="0">
                    <a:pos x="1427" y="0"/>
                  </a:cxn>
                </a:cxnLst>
                <a:rect l="0" t="0" r="r" b="b"/>
                <a:pathLst>
                  <a:path w="2240" h="2700">
                    <a:moveTo>
                      <a:pt x="1427" y="0"/>
                    </a:moveTo>
                    <a:cubicBezTo>
                      <a:pt x="2240" y="0"/>
                      <a:pt x="2240" y="0"/>
                      <a:pt x="2240" y="0"/>
                    </a:cubicBezTo>
                    <a:cubicBezTo>
                      <a:pt x="2240" y="0"/>
                      <a:pt x="2068" y="95"/>
                      <a:pt x="2068" y="237"/>
                    </a:cubicBezTo>
                    <a:cubicBezTo>
                      <a:pt x="2068" y="238"/>
                      <a:pt x="2067" y="1838"/>
                      <a:pt x="2067" y="1838"/>
                    </a:cubicBezTo>
                    <a:cubicBezTo>
                      <a:pt x="2067" y="2494"/>
                      <a:pt x="1501" y="2700"/>
                      <a:pt x="1122" y="2700"/>
                    </a:cubicBezTo>
                    <a:cubicBezTo>
                      <a:pt x="750" y="2700"/>
                      <a:pt x="166" y="2491"/>
                      <a:pt x="166" y="1838"/>
                    </a:cubicBezTo>
                    <a:cubicBezTo>
                      <a:pt x="166" y="237"/>
                      <a:pt x="166" y="237"/>
                      <a:pt x="166" y="237"/>
                    </a:cubicBezTo>
                    <a:cubicBezTo>
                      <a:pt x="166" y="94"/>
                      <a:pt x="0" y="0"/>
                      <a:pt x="0" y="0"/>
                    </a:cubicBezTo>
                    <a:cubicBezTo>
                      <a:pt x="821" y="0"/>
                      <a:pt x="821" y="0"/>
                      <a:pt x="821" y="0"/>
                    </a:cubicBezTo>
                    <a:cubicBezTo>
                      <a:pt x="821" y="0"/>
                      <a:pt x="631" y="94"/>
                      <a:pt x="631" y="237"/>
                    </a:cubicBezTo>
                    <a:cubicBezTo>
                      <a:pt x="630" y="1838"/>
                      <a:pt x="630" y="1838"/>
                      <a:pt x="630" y="1838"/>
                    </a:cubicBezTo>
                    <a:cubicBezTo>
                      <a:pt x="630" y="2178"/>
                      <a:pt x="856" y="2412"/>
                      <a:pt x="1122" y="2413"/>
                    </a:cubicBezTo>
                    <a:cubicBezTo>
                      <a:pt x="1388" y="2414"/>
                      <a:pt x="1602" y="2174"/>
                      <a:pt x="1602" y="1838"/>
                    </a:cubicBezTo>
                    <a:cubicBezTo>
                      <a:pt x="1603" y="237"/>
                      <a:pt x="1603" y="237"/>
                      <a:pt x="1603" y="237"/>
                    </a:cubicBezTo>
                    <a:cubicBezTo>
                      <a:pt x="1603" y="94"/>
                      <a:pt x="1427" y="0"/>
                      <a:pt x="1427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noProof="0" dirty="0"/>
              </a:p>
            </p:txBody>
          </p:sp>
          <p:sp>
            <p:nvSpPr>
              <p:cNvPr id="83" name="Freeform 78"/>
              <p:cNvSpPr>
                <a:spLocks/>
              </p:cNvSpPr>
              <p:nvPr userDrawn="1"/>
            </p:nvSpPr>
            <p:spPr bwMode="gray">
              <a:xfrm>
                <a:off x="8481696" y="328613"/>
                <a:ext cx="150813" cy="244475"/>
              </a:xfrm>
              <a:custGeom>
                <a:avLst/>
                <a:gdLst/>
                <a:ahLst/>
                <a:cxnLst>
                  <a:cxn ang="0">
                    <a:pos x="1467" y="479"/>
                  </a:cxn>
                  <a:cxn ang="0">
                    <a:pos x="1019" y="276"/>
                  </a:cxn>
                  <a:cxn ang="0">
                    <a:pos x="504" y="677"/>
                  </a:cxn>
                  <a:cxn ang="0">
                    <a:pos x="995" y="1174"/>
                  </a:cxn>
                  <a:cxn ang="0">
                    <a:pos x="1705" y="1974"/>
                  </a:cxn>
                  <a:cxn ang="0">
                    <a:pos x="651" y="2755"/>
                  </a:cxn>
                  <a:cxn ang="0">
                    <a:pos x="155" y="2686"/>
                  </a:cxn>
                  <a:cxn ang="0">
                    <a:pos x="0" y="2177"/>
                  </a:cxn>
                  <a:cxn ang="0">
                    <a:pos x="658" y="2466"/>
                  </a:cxn>
                  <a:cxn ang="0">
                    <a:pos x="1252" y="2030"/>
                  </a:cxn>
                  <a:cxn ang="0">
                    <a:pos x="46" y="731"/>
                  </a:cxn>
                  <a:cxn ang="0">
                    <a:pos x="973" y="0"/>
                  </a:cxn>
                  <a:cxn ang="0">
                    <a:pos x="1467" y="69"/>
                  </a:cxn>
                  <a:cxn ang="0">
                    <a:pos x="1467" y="479"/>
                  </a:cxn>
                </a:cxnLst>
                <a:rect l="0" t="0" r="r" b="b"/>
                <a:pathLst>
                  <a:path w="1707" h="2755">
                    <a:moveTo>
                      <a:pt x="1467" y="479"/>
                    </a:moveTo>
                    <a:cubicBezTo>
                      <a:pt x="1467" y="479"/>
                      <a:pt x="1352" y="277"/>
                      <a:pt x="1019" y="276"/>
                    </a:cubicBezTo>
                    <a:cubicBezTo>
                      <a:pt x="686" y="275"/>
                      <a:pt x="505" y="450"/>
                      <a:pt x="504" y="677"/>
                    </a:cubicBezTo>
                    <a:cubicBezTo>
                      <a:pt x="503" y="934"/>
                      <a:pt x="696" y="1031"/>
                      <a:pt x="995" y="1174"/>
                    </a:cubicBezTo>
                    <a:cubicBezTo>
                      <a:pt x="1279" y="1311"/>
                      <a:pt x="1707" y="1499"/>
                      <a:pt x="1705" y="1974"/>
                    </a:cubicBezTo>
                    <a:cubicBezTo>
                      <a:pt x="1704" y="2399"/>
                      <a:pt x="1327" y="2755"/>
                      <a:pt x="651" y="2755"/>
                    </a:cubicBezTo>
                    <a:cubicBezTo>
                      <a:pt x="442" y="2754"/>
                      <a:pt x="155" y="2686"/>
                      <a:pt x="155" y="2686"/>
                    </a:cubicBezTo>
                    <a:cubicBezTo>
                      <a:pt x="0" y="2177"/>
                      <a:pt x="0" y="2177"/>
                      <a:pt x="0" y="2177"/>
                    </a:cubicBezTo>
                    <a:cubicBezTo>
                      <a:pt x="143" y="2316"/>
                      <a:pt x="397" y="2466"/>
                      <a:pt x="658" y="2466"/>
                    </a:cubicBezTo>
                    <a:cubicBezTo>
                      <a:pt x="929" y="2466"/>
                      <a:pt x="1252" y="2298"/>
                      <a:pt x="1252" y="2030"/>
                    </a:cubicBezTo>
                    <a:cubicBezTo>
                      <a:pt x="1252" y="1512"/>
                      <a:pt x="46" y="1598"/>
                      <a:pt x="46" y="731"/>
                    </a:cubicBezTo>
                    <a:cubicBezTo>
                      <a:pt x="46" y="433"/>
                      <a:pt x="254" y="0"/>
                      <a:pt x="973" y="0"/>
                    </a:cubicBezTo>
                    <a:cubicBezTo>
                      <a:pt x="1207" y="0"/>
                      <a:pt x="1467" y="69"/>
                      <a:pt x="1467" y="69"/>
                    </a:cubicBezTo>
                    <a:lnTo>
                      <a:pt x="1467" y="47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noProof="0" dirty="0"/>
              </a:p>
            </p:txBody>
          </p:sp>
        </p:grpSp>
      </p:grpSp>
      <p:sp>
        <p:nvSpPr>
          <p:cNvPr id="7" name="VCT_Marker_ID_7" hidden="1"/>
          <p:cNvSpPr/>
          <p:nvPr userDrawn="1">
            <p:custDataLst>
              <p:tags r:id="rId1"/>
            </p:custDataLst>
          </p:nvPr>
        </p:nvSpPr>
        <p:spPr>
          <a:xfrm>
            <a:off x="1270000" y="95250"/>
            <a:ext cx="127000" cy="95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44" name="VCT_Backup_ID_44" hidden="1"/>
          <p:cNvSpPr txBox="1"/>
          <p:nvPr userDrawn="1">
            <p:custDataLst>
              <p:tags r:id="rId2"/>
            </p:custDataLst>
          </p:nvPr>
        </p:nvSpPr>
        <p:spPr bwMode="auto">
          <a:xfrm>
            <a:off x="324002" y="1304100"/>
            <a:ext cx="8496149" cy="1102519"/>
          </a:xfrm>
          <a:prstGeom prst="rect">
            <a:avLst/>
          </a:prstGeom>
          <a:noFill/>
          <a:ln w="0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3676650" algn="l"/>
              </a:tabLst>
              <a:defRPr/>
            </a:pPr>
            <a:r>
              <a:rPr lang="en-GB" sz="4400" b="0" i="0" u="none" baseline="0" dirty="0" smtClean="0">
                <a:solidFill>
                  <a:srgbClr val="FFFFFF"/>
                </a:solidFill>
                <a:latin typeface="Arial"/>
              </a:rPr>
              <a:t>Titelmasterformat </a:t>
            </a:r>
            <a:r>
              <a:rPr lang="en-GB" sz="4400" b="0" i="0" u="none" baseline="0" dirty="0" err="1" smtClean="0">
                <a:solidFill>
                  <a:srgbClr val="FFFFFF"/>
                </a:solidFill>
                <a:latin typeface="Arial"/>
              </a:rPr>
              <a:t>durch</a:t>
            </a:r>
            <a:r>
              <a:rPr lang="en-GB" sz="4400" b="0" i="0" u="none" baseline="0" dirty="0" smtClean="0">
                <a:solidFill>
                  <a:srgbClr val="FFFFFF"/>
                </a:solidFill>
                <a:latin typeface="Arial"/>
              </a:rPr>
              <a:t> </a:t>
            </a:r>
            <a:r>
              <a:rPr lang="en-GB" sz="4400" b="0" i="0" u="none" baseline="0" dirty="0" err="1" smtClean="0">
                <a:solidFill>
                  <a:srgbClr val="FFFFFF"/>
                </a:solidFill>
                <a:latin typeface="Arial"/>
              </a:rPr>
              <a:t>Klicken</a:t>
            </a:r>
            <a:r>
              <a:rPr lang="en-GB" sz="4400" b="0" i="0" u="none" baseline="0" dirty="0" smtClean="0">
                <a:solidFill>
                  <a:srgbClr val="FFFFFF"/>
                </a:solidFill>
                <a:latin typeface="Arial"/>
              </a:rPr>
              <a:t> </a:t>
            </a:r>
            <a:r>
              <a:rPr lang="en-GB" sz="4400" b="0" i="0" u="none" baseline="0" dirty="0" err="1" smtClean="0">
                <a:solidFill>
                  <a:srgbClr val="FFFFFF"/>
                </a:solidFill>
                <a:latin typeface="Arial"/>
              </a:rPr>
              <a:t>bearbeiten</a:t>
            </a:r>
            <a:endParaRPr lang="en-GB" sz="4400" b="0" i="0" u="none" baseline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5" name="VCT_Backup_ID_45" hidden="1"/>
          <p:cNvSpPr txBox="1"/>
          <p:nvPr userDrawn="1">
            <p:custDataLst>
              <p:tags r:id="rId3"/>
            </p:custDataLst>
          </p:nvPr>
        </p:nvSpPr>
        <p:spPr bwMode="auto">
          <a:xfrm>
            <a:off x="323999" y="3434400"/>
            <a:ext cx="8496151" cy="1339199"/>
          </a:xfrm>
          <a:prstGeom prst="rect">
            <a:avLst/>
          </a:prstGeom>
          <a:noFill/>
          <a:ln w="0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marL="0" lvl="0" indent="0"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de-DE" sz="2400" b="0" i="0" u="none" baseline="0" smtClean="0">
                <a:solidFill>
                  <a:srgbClr val="000000"/>
                </a:solidFill>
                <a:latin typeface="Arial"/>
              </a:rPr>
              <a:t>Formatvorlage des Untertitelmasters durch Klicken bearbeiten</a:t>
            </a:r>
            <a:endParaRPr lang="en-GB" sz="2400" b="0" i="0" u="none" baseline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Rechteck 40"/>
          <p:cNvSpPr/>
          <p:nvPr userDrawn="1"/>
        </p:nvSpPr>
        <p:spPr bwMode="gray">
          <a:xfrm>
            <a:off x="4427984" y="4991100"/>
            <a:ext cx="360040" cy="1524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noProof="0" smtClean="0">
              <a:solidFill>
                <a:schemeClr val="tx1"/>
              </a:solidFill>
            </a:endParaRPr>
          </a:p>
        </p:txBody>
      </p:sp>
      <p:sp>
        <p:nvSpPr>
          <p:cNvPr id="48" name="Title 47"/>
          <p:cNvSpPr>
            <a:spLocks noGrp="1"/>
          </p:cNvSpPr>
          <p:nvPr>
            <p:ph type="title"/>
          </p:nvPr>
        </p:nvSpPr>
        <p:spPr bwMode="gray">
          <a:xfrm>
            <a:off x="250825" y="2427730"/>
            <a:ext cx="8642356" cy="64809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tabLst>
                <a:tab pos="3676650" algn="l"/>
              </a:tabLst>
              <a:defRPr kumimoji="1" lang="en-US" altLang="ja-JP" sz="3200" kern="1200" noProof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 dirty="0"/>
          </a:p>
        </p:txBody>
      </p:sp>
      <p:sp>
        <p:nvSpPr>
          <p:cNvPr id="59" name="Subtitle 2"/>
          <p:cNvSpPr>
            <a:spLocks noGrp="1"/>
          </p:cNvSpPr>
          <p:nvPr>
            <p:ph type="subTitle" idx="1"/>
          </p:nvPr>
        </p:nvSpPr>
        <p:spPr bwMode="gray">
          <a:xfrm>
            <a:off x="250250" y="2067681"/>
            <a:ext cx="8642926" cy="432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marL="0" indent="0" algn="l" defTabSz="457200" rtl="0" eaLnBrk="1" fontAlgn="base" latinLnBrk="0" hangingPunct="1">
              <a:lnSpc>
                <a:spcPct val="110000"/>
              </a:lnSpc>
              <a:spcBef>
                <a:spcPts val="500"/>
              </a:spcBef>
              <a:spcAft>
                <a:spcPts val="200"/>
              </a:spcAft>
              <a:buClr>
                <a:srgbClr val="A30B1A"/>
              </a:buClr>
              <a:buFont typeface="Wingdings" pitchFamily="2" charset="2"/>
              <a:buNone/>
              <a:defRPr kumimoji="1" lang="en-US" altLang="ja-JP" sz="20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smtClean="0"/>
              <a:t>Formatvorlage des Untertitelmasters durch Klicken bearbeiten</a:t>
            </a:r>
            <a:endParaRPr lang="en-GB" noProof="0" dirty="0"/>
          </a:p>
        </p:txBody>
      </p:sp>
      <p:sp>
        <p:nvSpPr>
          <p:cNvPr id="47" name="Rectangle 46"/>
          <p:cNvSpPr/>
          <p:nvPr userDrawn="1"/>
        </p:nvSpPr>
        <p:spPr>
          <a:xfrm>
            <a:off x="0" y="4813200"/>
            <a:ext cx="9144000" cy="14402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de-DE" dirty="0" smtClean="0">
              <a:solidFill>
                <a:schemeClr val="tx1"/>
              </a:solidFill>
            </a:endParaRPr>
          </a:p>
        </p:txBody>
      </p:sp>
      <p:sp>
        <p:nvSpPr>
          <p:cNvPr id="46" name="Rectangle 23"/>
          <p:cNvSpPr>
            <a:spLocks noChangeArrowheads="1"/>
          </p:cNvSpPr>
          <p:nvPr userDrawn="1"/>
        </p:nvSpPr>
        <p:spPr bwMode="gray">
          <a:xfrm>
            <a:off x="7449687" y="4982134"/>
            <a:ext cx="1433513" cy="141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dirty="0">
                <a:latin typeface="+mn-lt"/>
              </a:rPr>
              <a:t>Copyright </a:t>
            </a:r>
            <a:r>
              <a:rPr lang="en-US" altLang="ja-JP" sz="800" dirty="0" smtClean="0">
                <a:latin typeface="+mn-lt"/>
              </a:rPr>
              <a:t>2016 </a:t>
            </a:r>
            <a:r>
              <a:rPr lang="en-US" altLang="ja-JP" sz="800" dirty="0">
                <a:latin typeface="+mn-lt"/>
              </a:rPr>
              <a:t>FUJITSU</a:t>
            </a:r>
          </a:p>
        </p:txBody>
      </p:sp>
    </p:spTree>
    <p:extLst>
      <p:ext uri="{BB962C8B-B14F-4D97-AF65-F5344CB8AC3E}">
        <p14:creationId xmlns:p14="http://schemas.microsoft.com/office/powerpoint/2010/main" val="1968806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87503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 bwMode="gray">
          <a:xfrm>
            <a:off x="250825" y="987425"/>
            <a:ext cx="8642350" cy="3816350"/>
          </a:xfrm>
        </p:spPr>
        <p:txBody>
          <a:bodyPr/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941996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9980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4" name="Picture 79" descr="TitleRed_24_L150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gray">
          <a:xfrm>
            <a:off x="0" y="0"/>
            <a:ext cx="9144000" cy="3730625"/>
          </a:xfrm>
          <a:prstGeom prst="rect">
            <a:avLst/>
          </a:prstGeom>
          <a:noFill/>
        </p:spPr>
      </p:pic>
      <p:grpSp>
        <p:nvGrpSpPr>
          <p:cNvPr id="50" name="Group 49"/>
          <p:cNvGrpSpPr>
            <a:grpSpLocks noChangeAspect="1"/>
          </p:cNvGrpSpPr>
          <p:nvPr/>
        </p:nvGrpSpPr>
        <p:grpSpPr bwMode="gray">
          <a:xfrm>
            <a:off x="7606538" y="114300"/>
            <a:ext cx="1418400" cy="792555"/>
            <a:chOff x="7324408" y="0"/>
            <a:chExt cx="1647825" cy="920750"/>
          </a:xfrm>
        </p:grpSpPr>
        <p:sp>
          <p:nvSpPr>
            <p:cNvPr id="51" name="AutoShape 48"/>
            <p:cNvSpPr>
              <a:spLocks noChangeAspect="1" noChangeArrowheads="1" noTextEdit="1"/>
            </p:cNvSpPr>
            <p:nvPr userDrawn="1"/>
          </p:nvSpPr>
          <p:spPr bwMode="gray">
            <a:xfrm>
              <a:off x="7324408" y="0"/>
              <a:ext cx="1647825" cy="9207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52" name="Freeform 49"/>
            <p:cNvSpPr>
              <a:spLocks/>
            </p:cNvSpPr>
            <p:nvPr userDrawn="1"/>
          </p:nvSpPr>
          <p:spPr bwMode="gray">
            <a:xfrm>
              <a:off x="7405371" y="773113"/>
              <a:ext cx="41275" cy="68263"/>
            </a:xfrm>
            <a:custGeom>
              <a:avLst/>
              <a:gdLst/>
              <a:ahLst/>
              <a:cxnLst>
                <a:cxn ang="0">
                  <a:pos x="0" y="731"/>
                </a:cxn>
                <a:cxn ang="0">
                  <a:pos x="0" y="643"/>
                </a:cxn>
                <a:cxn ang="0">
                  <a:pos x="177" y="684"/>
                </a:cxn>
                <a:cxn ang="0">
                  <a:pos x="355" y="568"/>
                </a:cxn>
                <a:cxn ang="0">
                  <a:pos x="325" y="493"/>
                </a:cxn>
                <a:cxn ang="0">
                  <a:pos x="271" y="452"/>
                </a:cxn>
                <a:cxn ang="0">
                  <a:pos x="203" y="417"/>
                </a:cxn>
                <a:cxn ang="0">
                  <a:pos x="62" y="323"/>
                </a:cxn>
                <a:cxn ang="0">
                  <a:pos x="12" y="190"/>
                </a:cxn>
                <a:cxn ang="0">
                  <a:pos x="90" y="41"/>
                </a:cxn>
                <a:cxn ang="0">
                  <a:pos x="257" y="0"/>
                </a:cxn>
                <a:cxn ang="0">
                  <a:pos x="411" y="24"/>
                </a:cxn>
                <a:cxn ang="0">
                  <a:pos x="411" y="106"/>
                </a:cxn>
                <a:cxn ang="0">
                  <a:pos x="262" y="74"/>
                </a:cxn>
                <a:cxn ang="0">
                  <a:pos x="162" y="98"/>
                </a:cxn>
                <a:cxn ang="0">
                  <a:pos x="120" y="178"/>
                </a:cxn>
                <a:cxn ang="0">
                  <a:pos x="149" y="253"/>
                </a:cxn>
                <a:cxn ang="0">
                  <a:pos x="273" y="331"/>
                </a:cxn>
                <a:cxn ang="0">
                  <a:pos x="374" y="388"/>
                </a:cxn>
                <a:cxn ang="0">
                  <a:pos x="444" y="465"/>
                </a:cxn>
                <a:cxn ang="0">
                  <a:pos x="463" y="556"/>
                </a:cxn>
                <a:cxn ang="0">
                  <a:pos x="184" y="762"/>
                </a:cxn>
                <a:cxn ang="0">
                  <a:pos x="0" y="731"/>
                </a:cxn>
              </a:cxnLst>
              <a:rect l="0" t="0" r="r" b="b"/>
              <a:pathLst>
                <a:path w="463" h="762">
                  <a:moveTo>
                    <a:pt x="0" y="731"/>
                  </a:moveTo>
                  <a:cubicBezTo>
                    <a:pt x="0" y="643"/>
                    <a:pt x="0" y="643"/>
                    <a:pt x="0" y="643"/>
                  </a:cubicBezTo>
                  <a:cubicBezTo>
                    <a:pt x="48" y="670"/>
                    <a:pt x="107" y="684"/>
                    <a:pt x="177" y="684"/>
                  </a:cubicBezTo>
                  <a:cubicBezTo>
                    <a:pt x="296" y="684"/>
                    <a:pt x="355" y="645"/>
                    <a:pt x="355" y="568"/>
                  </a:cubicBezTo>
                  <a:cubicBezTo>
                    <a:pt x="355" y="538"/>
                    <a:pt x="345" y="513"/>
                    <a:pt x="325" y="493"/>
                  </a:cubicBezTo>
                  <a:cubicBezTo>
                    <a:pt x="309" y="477"/>
                    <a:pt x="291" y="463"/>
                    <a:pt x="271" y="452"/>
                  </a:cubicBezTo>
                  <a:cubicBezTo>
                    <a:pt x="253" y="442"/>
                    <a:pt x="231" y="431"/>
                    <a:pt x="203" y="417"/>
                  </a:cubicBezTo>
                  <a:cubicBezTo>
                    <a:pt x="135" y="384"/>
                    <a:pt x="89" y="352"/>
                    <a:pt x="62" y="323"/>
                  </a:cubicBezTo>
                  <a:cubicBezTo>
                    <a:pt x="29" y="286"/>
                    <a:pt x="12" y="242"/>
                    <a:pt x="12" y="190"/>
                  </a:cubicBezTo>
                  <a:cubicBezTo>
                    <a:pt x="12" y="124"/>
                    <a:pt x="38" y="74"/>
                    <a:pt x="90" y="41"/>
                  </a:cubicBezTo>
                  <a:cubicBezTo>
                    <a:pt x="134" y="13"/>
                    <a:pt x="189" y="0"/>
                    <a:pt x="257" y="0"/>
                  </a:cubicBezTo>
                  <a:cubicBezTo>
                    <a:pt x="304" y="0"/>
                    <a:pt x="355" y="8"/>
                    <a:pt x="411" y="24"/>
                  </a:cubicBezTo>
                  <a:cubicBezTo>
                    <a:pt x="411" y="106"/>
                    <a:pt x="411" y="106"/>
                    <a:pt x="411" y="106"/>
                  </a:cubicBezTo>
                  <a:cubicBezTo>
                    <a:pt x="364" y="85"/>
                    <a:pt x="314" y="74"/>
                    <a:pt x="262" y="74"/>
                  </a:cubicBezTo>
                  <a:cubicBezTo>
                    <a:pt x="222" y="74"/>
                    <a:pt x="188" y="82"/>
                    <a:pt x="162" y="98"/>
                  </a:cubicBezTo>
                  <a:cubicBezTo>
                    <a:pt x="134" y="115"/>
                    <a:pt x="120" y="141"/>
                    <a:pt x="120" y="178"/>
                  </a:cubicBezTo>
                  <a:cubicBezTo>
                    <a:pt x="120" y="209"/>
                    <a:pt x="130" y="234"/>
                    <a:pt x="149" y="253"/>
                  </a:cubicBezTo>
                  <a:cubicBezTo>
                    <a:pt x="168" y="273"/>
                    <a:pt x="209" y="298"/>
                    <a:pt x="273" y="331"/>
                  </a:cubicBezTo>
                  <a:cubicBezTo>
                    <a:pt x="324" y="356"/>
                    <a:pt x="357" y="375"/>
                    <a:pt x="374" y="388"/>
                  </a:cubicBezTo>
                  <a:cubicBezTo>
                    <a:pt x="407" y="412"/>
                    <a:pt x="430" y="437"/>
                    <a:pt x="444" y="465"/>
                  </a:cubicBezTo>
                  <a:cubicBezTo>
                    <a:pt x="457" y="490"/>
                    <a:pt x="463" y="520"/>
                    <a:pt x="463" y="556"/>
                  </a:cubicBezTo>
                  <a:cubicBezTo>
                    <a:pt x="463" y="693"/>
                    <a:pt x="370" y="762"/>
                    <a:pt x="184" y="762"/>
                  </a:cubicBezTo>
                  <a:cubicBezTo>
                    <a:pt x="109" y="762"/>
                    <a:pt x="48" y="752"/>
                    <a:pt x="0" y="73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53" name="Freeform 50"/>
            <p:cNvSpPr>
              <a:spLocks/>
            </p:cNvSpPr>
            <p:nvPr userDrawn="1"/>
          </p:nvSpPr>
          <p:spPr bwMode="gray">
            <a:xfrm>
              <a:off x="7462521" y="742950"/>
              <a:ext cx="47625" cy="96838"/>
            </a:xfrm>
            <a:custGeom>
              <a:avLst/>
              <a:gdLst/>
              <a:ahLst/>
              <a:cxnLst>
                <a:cxn ang="0">
                  <a:pos x="0" y="1087"/>
                </a:cxn>
                <a:cxn ang="0">
                  <a:pos x="0" y="0"/>
                </a:cxn>
                <a:cxn ang="0">
                  <a:pos x="124" y="0"/>
                </a:cxn>
                <a:cxn ang="0">
                  <a:pos x="124" y="382"/>
                </a:cxn>
                <a:cxn ang="0">
                  <a:pos x="306" y="345"/>
                </a:cxn>
                <a:cxn ang="0">
                  <a:pos x="526" y="458"/>
                </a:cxn>
                <a:cxn ang="0">
                  <a:pos x="548" y="644"/>
                </a:cxn>
                <a:cxn ang="0">
                  <a:pos x="548" y="1087"/>
                </a:cxn>
                <a:cxn ang="0">
                  <a:pos x="425" y="1087"/>
                </a:cxn>
                <a:cxn ang="0">
                  <a:pos x="425" y="624"/>
                </a:cxn>
                <a:cxn ang="0">
                  <a:pos x="403" y="477"/>
                </a:cxn>
                <a:cxn ang="0">
                  <a:pos x="294" y="419"/>
                </a:cxn>
                <a:cxn ang="0">
                  <a:pos x="124" y="463"/>
                </a:cxn>
                <a:cxn ang="0">
                  <a:pos x="124" y="1087"/>
                </a:cxn>
                <a:cxn ang="0">
                  <a:pos x="0" y="1087"/>
                </a:cxn>
              </a:cxnLst>
              <a:rect l="0" t="0" r="r" b="b"/>
              <a:pathLst>
                <a:path w="548" h="1087">
                  <a:moveTo>
                    <a:pt x="0" y="108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24" y="382"/>
                    <a:pt x="124" y="382"/>
                    <a:pt x="124" y="382"/>
                  </a:cubicBezTo>
                  <a:cubicBezTo>
                    <a:pt x="188" y="357"/>
                    <a:pt x="249" y="345"/>
                    <a:pt x="306" y="345"/>
                  </a:cubicBezTo>
                  <a:cubicBezTo>
                    <a:pt x="420" y="345"/>
                    <a:pt x="493" y="382"/>
                    <a:pt x="526" y="458"/>
                  </a:cubicBezTo>
                  <a:cubicBezTo>
                    <a:pt x="541" y="492"/>
                    <a:pt x="548" y="554"/>
                    <a:pt x="548" y="644"/>
                  </a:cubicBezTo>
                  <a:cubicBezTo>
                    <a:pt x="548" y="1087"/>
                    <a:pt x="548" y="1087"/>
                    <a:pt x="548" y="1087"/>
                  </a:cubicBezTo>
                  <a:cubicBezTo>
                    <a:pt x="425" y="1087"/>
                    <a:pt x="425" y="1087"/>
                    <a:pt x="425" y="1087"/>
                  </a:cubicBezTo>
                  <a:cubicBezTo>
                    <a:pt x="425" y="624"/>
                    <a:pt x="425" y="624"/>
                    <a:pt x="425" y="624"/>
                  </a:cubicBezTo>
                  <a:cubicBezTo>
                    <a:pt x="425" y="555"/>
                    <a:pt x="418" y="506"/>
                    <a:pt x="403" y="477"/>
                  </a:cubicBezTo>
                  <a:cubicBezTo>
                    <a:pt x="384" y="439"/>
                    <a:pt x="347" y="419"/>
                    <a:pt x="294" y="419"/>
                  </a:cubicBezTo>
                  <a:cubicBezTo>
                    <a:pt x="245" y="419"/>
                    <a:pt x="189" y="434"/>
                    <a:pt x="124" y="463"/>
                  </a:cubicBezTo>
                  <a:cubicBezTo>
                    <a:pt x="124" y="1087"/>
                    <a:pt x="124" y="1087"/>
                    <a:pt x="124" y="1087"/>
                  </a:cubicBezTo>
                  <a:lnTo>
                    <a:pt x="0" y="10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54" name="Freeform 51"/>
            <p:cNvSpPr>
              <a:spLocks noEditPoints="1"/>
            </p:cNvSpPr>
            <p:nvPr userDrawn="1"/>
          </p:nvSpPr>
          <p:spPr bwMode="gray">
            <a:xfrm>
              <a:off x="7524433" y="773113"/>
              <a:ext cx="50800" cy="68263"/>
            </a:xfrm>
            <a:custGeom>
              <a:avLst/>
              <a:gdLst/>
              <a:ahLst/>
              <a:cxnLst>
                <a:cxn ang="0">
                  <a:pos x="437" y="286"/>
                </a:cxn>
                <a:cxn ang="0">
                  <a:pos x="437" y="248"/>
                </a:cxn>
                <a:cxn ang="0">
                  <a:pos x="415" y="138"/>
                </a:cxn>
                <a:cxn ang="0">
                  <a:pos x="271" y="77"/>
                </a:cxn>
                <a:cxn ang="0">
                  <a:pos x="70" y="118"/>
                </a:cxn>
                <a:cxn ang="0">
                  <a:pos x="70" y="31"/>
                </a:cxn>
                <a:cxn ang="0">
                  <a:pos x="284" y="0"/>
                </a:cxn>
                <a:cxn ang="0">
                  <a:pos x="516" y="76"/>
                </a:cxn>
                <a:cxn ang="0">
                  <a:pos x="558" y="200"/>
                </a:cxn>
                <a:cxn ang="0">
                  <a:pos x="561" y="290"/>
                </a:cxn>
                <a:cxn ang="0">
                  <a:pos x="561" y="727"/>
                </a:cxn>
                <a:cxn ang="0">
                  <a:pos x="293" y="762"/>
                </a:cxn>
                <a:cxn ang="0">
                  <a:pos x="83" y="720"/>
                </a:cxn>
                <a:cxn ang="0">
                  <a:pos x="0" y="558"/>
                </a:cxn>
                <a:cxn ang="0">
                  <a:pos x="96" y="363"/>
                </a:cxn>
                <a:cxn ang="0">
                  <a:pos x="336" y="297"/>
                </a:cxn>
                <a:cxn ang="0">
                  <a:pos x="437" y="286"/>
                </a:cxn>
                <a:cxn ang="0">
                  <a:pos x="437" y="356"/>
                </a:cxn>
                <a:cxn ang="0">
                  <a:pos x="267" y="382"/>
                </a:cxn>
                <a:cxn ang="0">
                  <a:pos x="127" y="545"/>
                </a:cxn>
                <a:cxn ang="0">
                  <a:pos x="168" y="650"/>
                </a:cxn>
                <a:cxn ang="0">
                  <a:pos x="312" y="687"/>
                </a:cxn>
                <a:cxn ang="0">
                  <a:pos x="437" y="670"/>
                </a:cxn>
                <a:cxn ang="0">
                  <a:pos x="437" y="356"/>
                </a:cxn>
              </a:cxnLst>
              <a:rect l="0" t="0" r="r" b="b"/>
              <a:pathLst>
                <a:path w="561" h="762">
                  <a:moveTo>
                    <a:pt x="437" y="286"/>
                  </a:moveTo>
                  <a:cubicBezTo>
                    <a:pt x="437" y="248"/>
                    <a:pt x="437" y="248"/>
                    <a:pt x="437" y="248"/>
                  </a:cubicBezTo>
                  <a:cubicBezTo>
                    <a:pt x="437" y="200"/>
                    <a:pt x="430" y="164"/>
                    <a:pt x="415" y="138"/>
                  </a:cubicBezTo>
                  <a:cubicBezTo>
                    <a:pt x="392" y="97"/>
                    <a:pt x="344" y="77"/>
                    <a:pt x="271" y="77"/>
                  </a:cubicBezTo>
                  <a:cubicBezTo>
                    <a:pt x="206" y="77"/>
                    <a:pt x="139" y="91"/>
                    <a:pt x="70" y="118"/>
                  </a:cubicBezTo>
                  <a:cubicBezTo>
                    <a:pt x="70" y="31"/>
                    <a:pt x="70" y="31"/>
                    <a:pt x="70" y="31"/>
                  </a:cubicBezTo>
                  <a:cubicBezTo>
                    <a:pt x="139" y="10"/>
                    <a:pt x="210" y="0"/>
                    <a:pt x="284" y="0"/>
                  </a:cubicBezTo>
                  <a:cubicBezTo>
                    <a:pt x="397" y="0"/>
                    <a:pt x="474" y="25"/>
                    <a:pt x="516" y="76"/>
                  </a:cubicBezTo>
                  <a:cubicBezTo>
                    <a:pt x="539" y="104"/>
                    <a:pt x="553" y="145"/>
                    <a:pt x="558" y="200"/>
                  </a:cubicBezTo>
                  <a:cubicBezTo>
                    <a:pt x="560" y="220"/>
                    <a:pt x="561" y="250"/>
                    <a:pt x="561" y="290"/>
                  </a:cubicBezTo>
                  <a:cubicBezTo>
                    <a:pt x="561" y="727"/>
                    <a:pt x="561" y="727"/>
                    <a:pt x="561" y="727"/>
                  </a:cubicBezTo>
                  <a:cubicBezTo>
                    <a:pt x="477" y="750"/>
                    <a:pt x="387" y="762"/>
                    <a:pt x="293" y="762"/>
                  </a:cubicBezTo>
                  <a:cubicBezTo>
                    <a:pt x="203" y="762"/>
                    <a:pt x="133" y="748"/>
                    <a:pt x="83" y="720"/>
                  </a:cubicBezTo>
                  <a:cubicBezTo>
                    <a:pt x="28" y="689"/>
                    <a:pt x="0" y="635"/>
                    <a:pt x="0" y="558"/>
                  </a:cubicBezTo>
                  <a:cubicBezTo>
                    <a:pt x="0" y="470"/>
                    <a:pt x="32" y="405"/>
                    <a:pt x="96" y="363"/>
                  </a:cubicBezTo>
                  <a:cubicBezTo>
                    <a:pt x="143" y="332"/>
                    <a:pt x="223" y="310"/>
                    <a:pt x="336" y="297"/>
                  </a:cubicBezTo>
                  <a:cubicBezTo>
                    <a:pt x="357" y="294"/>
                    <a:pt x="391" y="291"/>
                    <a:pt x="437" y="286"/>
                  </a:cubicBezTo>
                  <a:close/>
                  <a:moveTo>
                    <a:pt x="437" y="356"/>
                  </a:moveTo>
                  <a:cubicBezTo>
                    <a:pt x="362" y="363"/>
                    <a:pt x="305" y="372"/>
                    <a:pt x="267" y="382"/>
                  </a:cubicBezTo>
                  <a:cubicBezTo>
                    <a:pt x="173" y="405"/>
                    <a:pt x="127" y="460"/>
                    <a:pt x="127" y="545"/>
                  </a:cubicBezTo>
                  <a:cubicBezTo>
                    <a:pt x="127" y="593"/>
                    <a:pt x="140" y="627"/>
                    <a:pt x="168" y="650"/>
                  </a:cubicBezTo>
                  <a:cubicBezTo>
                    <a:pt x="198" y="675"/>
                    <a:pt x="246" y="687"/>
                    <a:pt x="312" y="687"/>
                  </a:cubicBezTo>
                  <a:cubicBezTo>
                    <a:pt x="357" y="687"/>
                    <a:pt x="398" y="681"/>
                    <a:pt x="437" y="670"/>
                  </a:cubicBezTo>
                  <a:lnTo>
                    <a:pt x="437" y="356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55" name="Freeform 52"/>
            <p:cNvSpPr>
              <a:spLocks noEditPoints="1"/>
            </p:cNvSpPr>
            <p:nvPr userDrawn="1"/>
          </p:nvSpPr>
          <p:spPr bwMode="gray">
            <a:xfrm>
              <a:off x="7594283" y="773113"/>
              <a:ext cx="50800" cy="96838"/>
            </a:xfrm>
            <a:custGeom>
              <a:avLst/>
              <a:gdLst/>
              <a:ahLst/>
              <a:cxnLst>
                <a:cxn ang="0">
                  <a:pos x="123" y="711"/>
                </a:cxn>
                <a:cxn ang="0">
                  <a:pos x="123" y="1087"/>
                </a:cxn>
                <a:cxn ang="0">
                  <a:pos x="0" y="1087"/>
                </a:cxn>
                <a:cxn ang="0">
                  <a:pos x="0" y="28"/>
                </a:cxn>
                <a:cxn ang="0">
                  <a:pos x="249" y="0"/>
                </a:cxn>
                <a:cxn ang="0">
                  <a:pos x="505" y="113"/>
                </a:cxn>
                <a:cxn ang="0">
                  <a:pos x="567" y="379"/>
                </a:cxn>
                <a:cxn ang="0">
                  <a:pos x="489" y="662"/>
                </a:cxn>
                <a:cxn ang="0">
                  <a:pos x="274" y="762"/>
                </a:cxn>
                <a:cxn ang="0">
                  <a:pos x="172" y="742"/>
                </a:cxn>
                <a:cxn ang="0">
                  <a:pos x="123" y="711"/>
                </a:cxn>
                <a:cxn ang="0">
                  <a:pos x="123" y="625"/>
                </a:cxn>
                <a:cxn ang="0">
                  <a:pos x="260" y="687"/>
                </a:cxn>
                <a:cxn ang="0">
                  <a:pos x="400" y="591"/>
                </a:cxn>
                <a:cxn ang="0">
                  <a:pos x="441" y="378"/>
                </a:cxn>
                <a:cxn ang="0">
                  <a:pos x="386" y="140"/>
                </a:cxn>
                <a:cxn ang="0">
                  <a:pos x="230" y="74"/>
                </a:cxn>
                <a:cxn ang="0">
                  <a:pos x="123" y="83"/>
                </a:cxn>
                <a:cxn ang="0">
                  <a:pos x="123" y="625"/>
                </a:cxn>
              </a:cxnLst>
              <a:rect l="0" t="0" r="r" b="b"/>
              <a:pathLst>
                <a:path w="567" h="1087">
                  <a:moveTo>
                    <a:pt x="123" y="711"/>
                  </a:moveTo>
                  <a:cubicBezTo>
                    <a:pt x="123" y="1087"/>
                    <a:pt x="123" y="1087"/>
                    <a:pt x="123" y="1087"/>
                  </a:cubicBezTo>
                  <a:cubicBezTo>
                    <a:pt x="0" y="1087"/>
                    <a:pt x="0" y="1087"/>
                    <a:pt x="0" y="1087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85" y="9"/>
                    <a:pt x="168" y="0"/>
                    <a:pt x="249" y="0"/>
                  </a:cubicBezTo>
                  <a:cubicBezTo>
                    <a:pt x="374" y="0"/>
                    <a:pt x="459" y="37"/>
                    <a:pt x="505" y="113"/>
                  </a:cubicBezTo>
                  <a:cubicBezTo>
                    <a:pt x="546" y="180"/>
                    <a:pt x="567" y="269"/>
                    <a:pt x="567" y="379"/>
                  </a:cubicBezTo>
                  <a:cubicBezTo>
                    <a:pt x="567" y="495"/>
                    <a:pt x="541" y="590"/>
                    <a:pt x="489" y="662"/>
                  </a:cubicBezTo>
                  <a:cubicBezTo>
                    <a:pt x="440" y="728"/>
                    <a:pt x="369" y="762"/>
                    <a:pt x="274" y="762"/>
                  </a:cubicBezTo>
                  <a:cubicBezTo>
                    <a:pt x="234" y="762"/>
                    <a:pt x="200" y="755"/>
                    <a:pt x="172" y="742"/>
                  </a:cubicBezTo>
                  <a:cubicBezTo>
                    <a:pt x="159" y="736"/>
                    <a:pt x="142" y="725"/>
                    <a:pt x="123" y="711"/>
                  </a:cubicBezTo>
                  <a:close/>
                  <a:moveTo>
                    <a:pt x="123" y="625"/>
                  </a:moveTo>
                  <a:cubicBezTo>
                    <a:pt x="165" y="666"/>
                    <a:pt x="210" y="687"/>
                    <a:pt x="260" y="687"/>
                  </a:cubicBezTo>
                  <a:cubicBezTo>
                    <a:pt x="324" y="687"/>
                    <a:pt x="371" y="655"/>
                    <a:pt x="400" y="591"/>
                  </a:cubicBezTo>
                  <a:cubicBezTo>
                    <a:pt x="427" y="533"/>
                    <a:pt x="441" y="462"/>
                    <a:pt x="441" y="378"/>
                  </a:cubicBezTo>
                  <a:cubicBezTo>
                    <a:pt x="441" y="272"/>
                    <a:pt x="422" y="193"/>
                    <a:pt x="386" y="140"/>
                  </a:cubicBezTo>
                  <a:cubicBezTo>
                    <a:pt x="356" y="96"/>
                    <a:pt x="304" y="74"/>
                    <a:pt x="230" y="74"/>
                  </a:cubicBezTo>
                  <a:cubicBezTo>
                    <a:pt x="198" y="74"/>
                    <a:pt x="162" y="77"/>
                    <a:pt x="123" y="83"/>
                  </a:cubicBezTo>
                  <a:lnTo>
                    <a:pt x="123" y="625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56" name="Freeform 53"/>
            <p:cNvSpPr>
              <a:spLocks noEditPoints="1"/>
            </p:cNvSpPr>
            <p:nvPr userDrawn="1"/>
          </p:nvSpPr>
          <p:spPr bwMode="gray">
            <a:xfrm>
              <a:off x="7659371" y="752475"/>
              <a:ext cx="14288" cy="87313"/>
            </a:xfrm>
            <a:custGeom>
              <a:avLst/>
              <a:gdLst/>
              <a:ahLst/>
              <a:cxnLst>
                <a:cxn ang="0">
                  <a:pos x="75" y="0"/>
                </a:cxn>
                <a:cxn ang="0">
                  <a:pos x="131" y="25"/>
                </a:cxn>
                <a:cxn ang="0">
                  <a:pos x="150" y="76"/>
                </a:cxn>
                <a:cxn ang="0">
                  <a:pos x="126" y="132"/>
                </a:cxn>
                <a:cxn ang="0">
                  <a:pos x="74" y="151"/>
                </a:cxn>
                <a:cxn ang="0">
                  <a:pos x="19" y="127"/>
                </a:cxn>
                <a:cxn ang="0">
                  <a:pos x="0" y="75"/>
                </a:cxn>
                <a:cxn ang="0">
                  <a:pos x="24" y="20"/>
                </a:cxn>
                <a:cxn ang="0">
                  <a:pos x="75" y="0"/>
                </a:cxn>
                <a:cxn ang="0">
                  <a:pos x="15" y="987"/>
                </a:cxn>
                <a:cxn ang="0">
                  <a:pos x="15" y="265"/>
                </a:cxn>
                <a:cxn ang="0">
                  <a:pos x="138" y="265"/>
                </a:cxn>
                <a:cxn ang="0">
                  <a:pos x="138" y="987"/>
                </a:cxn>
                <a:cxn ang="0">
                  <a:pos x="15" y="987"/>
                </a:cxn>
              </a:cxnLst>
              <a:rect l="0" t="0" r="r" b="b"/>
              <a:pathLst>
                <a:path w="150" h="987">
                  <a:moveTo>
                    <a:pt x="75" y="0"/>
                  </a:moveTo>
                  <a:cubicBezTo>
                    <a:pt x="97" y="0"/>
                    <a:pt x="116" y="9"/>
                    <a:pt x="131" y="25"/>
                  </a:cubicBezTo>
                  <a:cubicBezTo>
                    <a:pt x="144" y="40"/>
                    <a:pt x="150" y="57"/>
                    <a:pt x="150" y="76"/>
                  </a:cubicBezTo>
                  <a:cubicBezTo>
                    <a:pt x="150" y="98"/>
                    <a:pt x="142" y="117"/>
                    <a:pt x="126" y="132"/>
                  </a:cubicBezTo>
                  <a:cubicBezTo>
                    <a:pt x="112" y="145"/>
                    <a:pt x="94" y="151"/>
                    <a:pt x="74" y="151"/>
                  </a:cubicBezTo>
                  <a:cubicBezTo>
                    <a:pt x="52" y="151"/>
                    <a:pt x="33" y="143"/>
                    <a:pt x="19" y="127"/>
                  </a:cubicBezTo>
                  <a:cubicBezTo>
                    <a:pt x="6" y="112"/>
                    <a:pt x="0" y="95"/>
                    <a:pt x="0" y="75"/>
                  </a:cubicBezTo>
                  <a:cubicBezTo>
                    <a:pt x="0" y="53"/>
                    <a:pt x="8" y="35"/>
                    <a:pt x="24" y="20"/>
                  </a:cubicBezTo>
                  <a:cubicBezTo>
                    <a:pt x="38" y="7"/>
                    <a:pt x="55" y="0"/>
                    <a:pt x="75" y="0"/>
                  </a:cubicBezTo>
                  <a:close/>
                  <a:moveTo>
                    <a:pt x="15" y="987"/>
                  </a:moveTo>
                  <a:cubicBezTo>
                    <a:pt x="15" y="265"/>
                    <a:pt x="15" y="265"/>
                    <a:pt x="15" y="265"/>
                  </a:cubicBezTo>
                  <a:cubicBezTo>
                    <a:pt x="138" y="265"/>
                    <a:pt x="138" y="265"/>
                    <a:pt x="138" y="265"/>
                  </a:cubicBezTo>
                  <a:cubicBezTo>
                    <a:pt x="138" y="987"/>
                    <a:pt x="138" y="987"/>
                    <a:pt x="138" y="987"/>
                  </a:cubicBezTo>
                  <a:lnTo>
                    <a:pt x="15" y="9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57" name="Freeform 54"/>
            <p:cNvSpPr>
              <a:spLocks/>
            </p:cNvSpPr>
            <p:nvPr userDrawn="1"/>
          </p:nvSpPr>
          <p:spPr bwMode="gray">
            <a:xfrm>
              <a:off x="7692708" y="773113"/>
              <a:ext cx="49213" cy="66675"/>
            </a:xfrm>
            <a:custGeom>
              <a:avLst/>
              <a:gdLst/>
              <a:ahLst/>
              <a:cxnLst>
                <a:cxn ang="0">
                  <a:pos x="0" y="742"/>
                </a:cxn>
                <a:cxn ang="0">
                  <a:pos x="0" y="28"/>
                </a:cxn>
                <a:cxn ang="0">
                  <a:pos x="289" y="0"/>
                </a:cxn>
                <a:cxn ang="0">
                  <a:pos x="526" y="113"/>
                </a:cxn>
                <a:cxn ang="0">
                  <a:pos x="548" y="299"/>
                </a:cxn>
                <a:cxn ang="0">
                  <a:pos x="548" y="742"/>
                </a:cxn>
                <a:cxn ang="0">
                  <a:pos x="424" y="742"/>
                </a:cxn>
                <a:cxn ang="0">
                  <a:pos x="424" y="306"/>
                </a:cxn>
                <a:cxn ang="0">
                  <a:pos x="403" y="134"/>
                </a:cxn>
                <a:cxn ang="0">
                  <a:pos x="277" y="74"/>
                </a:cxn>
                <a:cxn ang="0">
                  <a:pos x="123" y="90"/>
                </a:cxn>
                <a:cxn ang="0">
                  <a:pos x="123" y="742"/>
                </a:cxn>
                <a:cxn ang="0">
                  <a:pos x="0" y="742"/>
                </a:cxn>
              </a:cxnLst>
              <a:rect l="0" t="0" r="r" b="b"/>
              <a:pathLst>
                <a:path w="548" h="742">
                  <a:moveTo>
                    <a:pt x="0" y="742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114" y="9"/>
                    <a:pt x="210" y="0"/>
                    <a:pt x="289" y="0"/>
                  </a:cubicBezTo>
                  <a:cubicBezTo>
                    <a:pt x="415" y="0"/>
                    <a:pt x="494" y="38"/>
                    <a:pt x="526" y="113"/>
                  </a:cubicBezTo>
                  <a:cubicBezTo>
                    <a:pt x="541" y="149"/>
                    <a:pt x="548" y="210"/>
                    <a:pt x="548" y="299"/>
                  </a:cubicBezTo>
                  <a:cubicBezTo>
                    <a:pt x="548" y="742"/>
                    <a:pt x="548" y="742"/>
                    <a:pt x="548" y="742"/>
                  </a:cubicBezTo>
                  <a:cubicBezTo>
                    <a:pt x="424" y="742"/>
                    <a:pt x="424" y="742"/>
                    <a:pt x="424" y="742"/>
                  </a:cubicBezTo>
                  <a:cubicBezTo>
                    <a:pt x="424" y="306"/>
                    <a:pt x="424" y="306"/>
                    <a:pt x="424" y="306"/>
                  </a:cubicBezTo>
                  <a:cubicBezTo>
                    <a:pt x="424" y="221"/>
                    <a:pt x="417" y="163"/>
                    <a:pt x="403" y="134"/>
                  </a:cubicBezTo>
                  <a:cubicBezTo>
                    <a:pt x="382" y="94"/>
                    <a:pt x="341" y="74"/>
                    <a:pt x="277" y="74"/>
                  </a:cubicBezTo>
                  <a:cubicBezTo>
                    <a:pt x="227" y="74"/>
                    <a:pt x="176" y="80"/>
                    <a:pt x="123" y="90"/>
                  </a:cubicBezTo>
                  <a:cubicBezTo>
                    <a:pt x="123" y="742"/>
                    <a:pt x="123" y="742"/>
                    <a:pt x="123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58" name="Freeform 55"/>
            <p:cNvSpPr>
              <a:spLocks noEditPoints="1"/>
            </p:cNvSpPr>
            <p:nvPr userDrawn="1"/>
          </p:nvSpPr>
          <p:spPr bwMode="gray">
            <a:xfrm>
              <a:off x="7756208" y="773113"/>
              <a:ext cx="50800" cy="98425"/>
            </a:xfrm>
            <a:custGeom>
              <a:avLst/>
              <a:gdLst/>
              <a:ahLst/>
              <a:cxnLst>
                <a:cxn ang="0">
                  <a:pos x="445" y="677"/>
                </a:cxn>
                <a:cxn ang="0">
                  <a:pos x="399" y="721"/>
                </a:cxn>
                <a:cxn ang="0">
                  <a:pos x="257" y="762"/>
                </a:cxn>
                <a:cxn ang="0">
                  <a:pos x="97" y="708"/>
                </a:cxn>
                <a:cxn ang="0">
                  <a:pos x="0" y="414"/>
                </a:cxn>
                <a:cxn ang="0">
                  <a:pos x="71" y="131"/>
                </a:cxn>
                <a:cxn ang="0">
                  <a:pos x="340" y="0"/>
                </a:cxn>
                <a:cxn ang="0">
                  <a:pos x="569" y="28"/>
                </a:cxn>
                <a:cxn ang="0">
                  <a:pos x="569" y="601"/>
                </a:cxn>
                <a:cxn ang="0">
                  <a:pos x="555" y="843"/>
                </a:cxn>
                <a:cxn ang="0">
                  <a:pos x="422" y="1052"/>
                </a:cxn>
                <a:cxn ang="0">
                  <a:pos x="191" y="1098"/>
                </a:cxn>
                <a:cxn ang="0">
                  <a:pos x="98" y="1092"/>
                </a:cxn>
                <a:cxn ang="0">
                  <a:pos x="98" y="1018"/>
                </a:cxn>
                <a:cxn ang="0">
                  <a:pos x="190" y="1024"/>
                </a:cxn>
                <a:cxn ang="0">
                  <a:pos x="341" y="997"/>
                </a:cxn>
                <a:cxn ang="0">
                  <a:pos x="434" y="858"/>
                </a:cxn>
                <a:cxn ang="0">
                  <a:pos x="445" y="716"/>
                </a:cxn>
                <a:cxn ang="0">
                  <a:pos x="445" y="677"/>
                </a:cxn>
                <a:cxn ang="0">
                  <a:pos x="445" y="81"/>
                </a:cxn>
                <a:cxn ang="0">
                  <a:pos x="353" y="74"/>
                </a:cxn>
                <a:cxn ang="0">
                  <a:pos x="231" y="106"/>
                </a:cxn>
                <a:cxn ang="0">
                  <a:pos x="152" y="233"/>
                </a:cxn>
                <a:cxn ang="0">
                  <a:pos x="126" y="419"/>
                </a:cxn>
                <a:cxn ang="0">
                  <a:pos x="174" y="633"/>
                </a:cxn>
                <a:cxn ang="0">
                  <a:pos x="274" y="687"/>
                </a:cxn>
                <a:cxn ang="0">
                  <a:pos x="371" y="654"/>
                </a:cxn>
                <a:cxn ang="0">
                  <a:pos x="435" y="566"/>
                </a:cxn>
                <a:cxn ang="0">
                  <a:pos x="445" y="483"/>
                </a:cxn>
                <a:cxn ang="0">
                  <a:pos x="445" y="81"/>
                </a:cxn>
              </a:cxnLst>
              <a:rect l="0" t="0" r="r" b="b"/>
              <a:pathLst>
                <a:path w="569" h="1098">
                  <a:moveTo>
                    <a:pt x="445" y="677"/>
                  </a:moveTo>
                  <a:cubicBezTo>
                    <a:pt x="427" y="697"/>
                    <a:pt x="412" y="712"/>
                    <a:pt x="399" y="721"/>
                  </a:cubicBezTo>
                  <a:cubicBezTo>
                    <a:pt x="362" y="748"/>
                    <a:pt x="314" y="762"/>
                    <a:pt x="257" y="762"/>
                  </a:cubicBezTo>
                  <a:cubicBezTo>
                    <a:pt x="192" y="762"/>
                    <a:pt x="139" y="744"/>
                    <a:pt x="97" y="708"/>
                  </a:cubicBezTo>
                  <a:cubicBezTo>
                    <a:pt x="32" y="654"/>
                    <a:pt x="0" y="556"/>
                    <a:pt x="0" y="414"/>
                  </a:cubicBezTo>
                  <a:cubicBezTo>
                    <a:pt x="0" y="300"/>
                    <a:pt x="24" y="206"/>
                    <a:pt x="71" y="131"/>
                  </a:cubicBezTo>
                  <a:cubicBezTo>
                    <a:pt x="126" y="44"/>
                    <a:pt x="216" y="0"/>
                    <a:pt x="340" y="0"/>
                  </a:cubicBezTo>
                  <a:cubicBezTo>
                    <a:pt x="414" y="0"/>
                    <a:pt x="490" y="9"/>
                    <a:pt x="569" y="28"/>
                  </a:cubicBezTo>
                  <a:cubicBezTo>
                    <a:pt x="569" y="601"/>
                    <a:pt x="569" y="601"/>
                    <a:pt x="569" y="601"/>
                  </a:cubicBezTo>
                  <a:cubicBezTo>
                    <a:pt x="569" y="707"/>
                    <a:pt x="564" y="788"/>
                    <a:pt x="555" y="843"/>
                  </a:cubicBezTo>
                  <a:cubicBezTo>
                    <a:pt x="538" y="944"/>
                    <a:pt x="494" y="1013"/>
                    <a:pt x="422" y="1052"/>
                  </a:cubicBezTo>
                  <a:cubicBezTo>
                    <a:pt x="363" y="1083"/>
                    <a:pt x="286" y="1098"/>
                    <a:pt x="191" y="1098"/>
                  </a:cubicBezTo>
                  <a:cubicBezTo>
                    <a:pt x="164" y="1098"/>
                    <a:pt x="133" y="1096"/>
                    <a:pt x="98" y="1092"/>
                  </a:cubicBezTo>
                  <a:cubicBezTo>
                    <a:pt x="98" y="1018"/>
                    <a:pt x="98" y="1018"/>
                    <a:pt x="98" y="1018"/>
                  </a:cubicBezTo>
                  <a:cubicBezTo>
                    <a:pt x="130" y="1022"/>
                    <a:pt x="160" y="1024"/>
                    <a:pt x="190" y="1024"/>
                  </a:cubicBezTo>
                  <a:cubicBezTo>
                    <a:pt x="258" y="1024"/>
                    <a:pt x="308" y="1015"/>
                    <a:pt x="341" y="997"/>
                  </a:cubicBezTo>
                  <a:cubicBezTo>
                    <a:pt x="390" y="971"/>
                    <a:pt x="421" y="924"/>
                    <a:pt x="434" y="858"/>
                  </a:cubicBezTo>
                  <a:cubicBezTo>
                    <a:pt x="442" y="821"/>
                    <a:pt x="445" y="773"/>
                    <a:pt x="445" y="716"/>
                  </a:cubicBezTo>
                  <a:lnTo>
                    <a:pt x="445" y="677"/>
                  </a:lnTo>
                  <a:close/>
                  <a:moveTo>
                    <a:pt x="445" y="81"/>
                  </a:moveTo>
                  <a:cubicBezTo>
                    <a:pt x="411" y="77"/>
                    <a:pt x="380" y="74"/>
                    <a:pt x="353" y="74"/>
                  </a:cubicBezTo>
                  <a:cubicBezTo>
                    <a:pt x="301" y="74"/>
                    <a:pt x="260" y="85"/>
                    <a:pt x="231" y="106"/>
                  </a:cubicBezTo>
                  <a:cubicBezTo>
                    <a:pt x="197" y="130"/>
                    <a:pt x="171" y="173"/>
                    <a:pt x="152" y="233"/>
                  </a:cubicBezTo>
                  <a:cubicBezTo>
                    <a:pt x="135" y="287"/>
                    <a:pt x="126" y="348"/>
                    <a:pt x="126" y="419"/>
                  </a:cubicBezTo>
                  <a:cubicBezTo>
                    <a:pt x="126" y="517"/>
                    <a:pt x="142" y="589"/>
                    <a:pt x="174" y="633"/>
                  </a:cubicBezTo>
                  <a:cubicBezTo>
                    <a:pt x="199" y="669"/>
                    <a:pt x="233" y="687"/>
                    <a:pt x="274" y="687"/>
                  </a:cubicBezTo>
                  <a:cubicBezTo>
                    <a:pt x="308" y="687"/>
                    <a:pt x="341" y="676"/>
                    <a:pt x="371" y="654"/>
                  </a:cubicBezTo>
                  <a:cubicBezTo>
                    <a:pt x="401" y="631"/>
                    <a:pt x="423" y="602"/>
                    <a:pt x="435" y="566"/>
                  </a:cubicBezTo>
                  <a:cubicBezTo>
                    <a:pt x="442" y="547"/>
                    <a:pt x="445" y="520"/>
                    <a:pt x="445" y="483"/>
                  </a:cubicBezTo>
                  <a:lnTo>
                    <a:pt x="445" y="8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60" name="Freeform 56"/>
            <p:cNvSpPr>
              <a:spLocks/>
            </p:cNvSpPr>
            <p:nvPr userDrawn="1"/>
          </p:nvSpPr>
          <p:spPr bwMode="gray">
            <a:xfrm>
              <a:off x="7856221" y="758825"/>
              <a:ext cx="28575" cy="8096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4" y="0"/>
                </a:cxn>
                <a:cxn ang="0">
                  <a:pos x="124" y="195"/>
                </a:cxn>
                <a:cxn ang="0">
                  <a:pos x="318" y="195"/>
                </a:cxn>
                <a:cxn ang="0">
                  <a:pos x="318" y="273"/>
                </a:cxn>
                <a:cxn ang="0">
                  <a:pos x="124" y="273"/>
                </a:cxn>
                <a:cxn ang="0">
                  <a:pos x="124" y="656"/>
                </a:cxn>
                <a:cxn ang="0">
                  <a:pos x="156" y="804"/>
                </a:cxn>
                <a:cxn ang="0">
                  <a:pos x="225" y="836"/>
                </a:cxn>
                <a:cxn ang="0">
                  <a:pos x="277" y="838"/>
                </a:cxn>
                <a:cxn ang="0">
                  <a:pos x="318" y="838"/>
                </a:cxn>
                <a:cxn ang="0">
                  <a:pos x="318" y="917"/>
                </a:cxn>
                <a:cxn ang="0">
                  <a:pos x="251" y="917"/>
                </a:cxn>
                <a:cxn ang="0">
                  <a:pos x="127" y="904"/>
                </a:cxn>
                <a:cxn ang="0">
                  <a:pos x="11" y="782"/>
                </a:cxn>
                <a:cxn ang="0">
                  <a:pos x="0" y="638"/>
                </a:cxn>
                <a:cxn ang="0">
                  <a:pos x="0" y="0"/>
                </a:cxn>
              </a:cxnLst>
              <a:rect l="0" t="0" r="r" b="b"/>
              <a:pathLst>
                <a:path w="318" h="917">
                  <a:moveTo>
                    <a:pt x="0" y="0"/>
                  </a:moveTo>
                  <a:cubicBezTo>
                    <a:pt x="124" y="0"/>
                    <a:pt x="124" y="0"/>
                    <a:pt x="124" y="0"/>
                  </a:cubicBezTo>
                  <a:cubicBezTo>
                    <a:pt x="124" y="195"/>
                    <a:pt x="124" y="195"/>
                    <a:pt x="124" y="195"/>
                  </a:cubicBezTo>
                  <a:cubicBezTo>
                    <a:pt x="318" y="195"/>
                    <a:pt x="318" y="195"/>
                    <a:pt x="318" y="195"/>
                  </a:cubicBezTo>
                  <a:cubicBezTo>
                    <a:pt x="318" y="273"/>
                    <a:pt x="318" y="273"/>
                    <a:pt x="318" y="273"/>
                  </a:cubicBezTo>
                  <a:cubicBezTo>
                    <a:pt x="124" y="273"/>
                    <a:pt x="124" y="273"/>
                    <a:pt x="124" y="273"/>
                  </a:cubicBezTo>
                  <a:cubicBezTo>
                    <a:pt x="124" y="656"/>
                    <a:pt x="124" y="656"/>
                    <a:pt x="124" y="656"/>
                  </a:cubicBezTo>
                  <a:cubicBezTo>
                    <a:pt x="124" y="729"/>
                    <a:pt x="135" y="778"/>
                    <a:pt x="156" y="804"/>
                  </a:cubicBezTo>
                  <a:cubicBezTo>
                    <a:pt x="171" y="821"/>
                    <a:pt x="194" y="832"/>
                    <a:pt x="225" y="836"/>
                  </a:cubicBezTo>
                  <a:cubicBezTo>
                    <a:pt x="235" y="837"/>
                    <a:pt x="252" y="838"/>
                    <a:pt x="277" y="838"/>
                  </a:cubicBezTo>
                  <a:cubicBezTo>
                    <a:pt x="318" y="838"/>
                    <a:pt x="318" y="838"/>
                    <a:pt x="318" y="838"/>
                  </a:cubicBezTo>
                  <a:cubicBezTo>
                    <a:pt x="318" y="917"/>
                    <a:pt x="318" y="917"/>
                    <a:pt x="318" y="917"/>
                  </a:cubicBezTo>
                  <a:cubicBezTo>
                    <a:pt x="251" y="917"/>
                    <a:pt x="251" y="917"/>
                    <a:pt x="251" y="917"/>
                  </a:cubicBezTo>
                  <a:cubicBezTo>
                    <a:pt x="198" y="917"/>
                    <a:pt x="157" y="913"/>
                    <a:pt x="127" y="904"/>
                  </a:cubicBezTo>
                  <a:cubicBezTo>
                    <a:pt x="64" y="887"/>
                    <a:pt x="26" y="846"/>
                    <a:pt x="11" y="782"/>
                  </a:cubicBezTo>
                  <a:cubicBezTo>
                    <a:pt x="4" y="747"/>
                    <a:pt x="0" y="699"/>
                    <a:pt x="0" y="638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61" name="Freeform 57"/>
            <p:cNvSpPr>
              <a:spLocks noEditPoints="1"/>
            </p:cNvSpPr>
            <p:nvPr userDrawn="1"/>
          </p:nvSpPr>
          <p:spPr bwMode="gray">
            <a:xfrm>
              <a:off x="7894321" y="773113"/>
              <a:ext cx="53975" cy="68263"/>
            </a:xfrm>
            <a:custGeom>
              <a:avLst/>
              <a:gdLst/>
              <a:ahLst/>
              <a:cxnLst>
                <a:cxn ang="0">
                  <a:pos x="304" y="0"/>
                </a:cxn>
                <a:cxn ang="0">
                  <a:pos x="534" y="103"/>
                </a:cxn>
                <a:cxn ang="0">
                  <a:pos x="607" y="381"/>
                </a:cxn>
                <a:cxn ang="0">
                  <a:pos x="534" y="659"/>
                </a:cxn>
                <a:cxn ang="0">
                  <a:pos x="304" y="762"/>
                </a:cxn>
                <a:cxn ang="0">
                  <a:pos x="0" y="375"/>
                </a:cxn>
                <a:cxn ang="0">
                  <a:pos x="73" y="103"/>
                </a:cxn>
                <a:cxn ang="0">
                  <a:pos x="304" y="0"/>
                </a:cxn>
                <a:cxn ang="0">
                  <a:pos x="304" y="74"/>
                </a:cxn>
                <a:cxn ang="0">
                  <a:pos x="159" y="168"/>
                </a:cxn>
                <a:cxn ang="0">
                  <a:pos x="126" y="377"/>
                </a:cxn>
                <a:cxn ang="0">
                  <a:pos x="159" y="593"/>
                </a:cxn>
                <a:cxn ang="0">
                  <a:pos x="304" y="687"/>
                </a:cxn>
                <a:cxn ang="0">
                  <a:pos x="448" y="593"/>
                </a:cxn>
                <a:cxn ang="0">
                  <a:pos x="481" y="380"/>
                </a:cxn>
                <a:cxn ang="0">
                  <a:pos x="448" y="168"/>
                </a:cxn>
                <a:cxn ang="0">
                  <a:pos x="304" y="74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4" y="762"/>
                  </a:cubicBezTo>
                  <a:cubicBezTo>
                    <a:pt x="101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6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6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62" name="Freeform 58"/>
            <p:cNvSpPr>
              <a:spLocks/>
            </p:cNvSpPr>
            <p:nvPr userDrawn="1"/>
          </p:nvSpPr>
          <p:spPr bwMode="gray">
            <a:xfrm>
              <a:off x="7964171" y="773113"/>
              <a:ext cx="82550" cy="66675"/>
            </a:xfrm>
            <a:custGeom>
              <a:avLst/>
              <a:gdLst/>
              <a:ahLst/>
              <a:cxnLst>
                <a:cxn ang="0">
                  <a:pos x="0" y="742"/>
                </a:cxn>
                <a:cxn ang="0">
                  <a:pos x="0" y="28"/>
                </a:cxn>
                <a:cxn ang="0">
                  <a:pos x="267" y="0"/>
                </a:cxn>
                <a:cxn ang="0">
                  <a:pos x="460" y="46"/>
                </a:cxn>
                <a:cxn ang="0">
                  <a:pos x="691" y="0"/>
                </a:cxn>
                <a:cxn ang="0">
                  <a:pos x="912" y="114"/>
                </a:cxn>
                <a:cxn ang="0">
                  <a:pos x="933" y="299"/>
                </a:cxn>
                <a:cxn ang="0">
                  <a:pos x="933" y="742"/>
                </a:cxn>
                <a:cxn ang="0">
                  <a:pos x="809" y="742"/>
                </a:cxn>
                <a:cxn ang="0">
                  <a:pos x="809" y="306"/>
                </a:cxn>
                <a:cxn ang="0">
                  <a:pos x="790" y="135"/>
                </a:cxn>
                <a:cxn ang="0">
                  <a:pos x="675" y="74"/>
                </a:cxn>
                <a:cxn ang="0">
                  <a:pos x="528" y="108"/>
                </a:cxn>
                <a:cxn ang="0">
                  <a:pos x="528" y="742"/>
                </a:cxn>
                <a:cxn ang="0">
                  <a:pos x="405" y="742"/>
                </a:cxn>
                <a:cxn ang="0">
                  <a:pos x="405" y="301"/>
                </a:cxn>
                <a:cxn ang="0">
                  <a:pos x="385" y="135"/>
                </a:cxn>
                <a:cxn ang="0">
                  <a:pos x="267" y="74"/>
                </a:cxn>
                <a:cxn ang="0">
                  <a:pos x="124" y="90"/>
                </a:cxn>
                <a:cxn ang="0">
                  <a:pos x="124" y="742"/>
                </a:cxn>
                <a:cxn ang="0">
                  <a:pos x="0" y="742"/>
                </a:cxn>
              </a:cxnLst>
              <a:rect l="0" t="0" r="r" b="b"/>
              <a:pathLst>
                <a:path w="933" h="742">
                  <a:moveTo>
                    <a:pt x="0" y="742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113" y="9"/>
                    <a:pt x="202" y="0"/>
                    <a:pt x="267" y="0"/>
                  </a:cubicBezTo>
                  <a:cubicBezTo>
                    <a:pt x="352" y="0"/>
                    <a:pt x="417" y="15"/>
                    <a:pt x="460" y="46"/>
                  </a:cubicBezTo>
                  <a:cubicBezTo>
                    <a:pt x="538" y="15"/>
                    <a:pt x="615" y="0"/>
                    <a:pt x="691" y="0"/>
                  </a:cubicBezTo>
                  <a:cubicBezTo>
                    <a:pt x="808" y="0"/>
                    <a:pt x="881" y="38"/>
                    <a:pt x="912" y="114"/>
                  </a:cubicBezTo>
                  <a:cubicBezTo>
                    <a:pt x="926" y="149"/>
                    <a:pt x="933" y="211"/>
                    <a:pt x="933" y="299"/>
                  </a:cubicBezTo>
                  <a:cubicBezTo>
                    <a:pt x="933" y="742"/>
                    <a:pt x="933" y="742"/>
                    <a:pt x="933" y="742"/>
                  </a:cubicBezTo>
                  <a:cubicBezTo>
                    <a:pt x="809" y="742"/>
                    <a:pt x="809" y="742"/>
                    <a:pt x="809" y="742"/>
                  </a:cubicBezTo>
                  <a:cubicBezTo>
                    <a:pt x="809" y="306"/>
                    <a:pt x="809" y="306"/>
                    <a:pt x="809" y="306"/>
                  </a:cubicBezTo>
                  <a:cubicBezTo>
                    <a:pt x="809" y="222"/>
                    <a:pt x="803" y="164"/>
                    <a:pt x="790" y="135"/>
                  </a:cubicBezTo>
                  <a:cubicBezTo>
                    <a:pt x="771" y="94"/>
                    <a:pt x="733" y="74"/>
                    <a:pt x="675" y="74"/>
                  </a:cubicBezTo>
                  <a:cubicBezTo>
                    <a:pt x="627" y="74"/>
                    <a:pt x="578" y="86"/>
                    <a:pt x="528" y="108"/>
                  </a:cubicBezTo>
                  <a:cubicBezTo>
                    <a:pt x="528" y="742"/>
                    <a:pt x="528" y="742"/>
                    <a:pt x="528" y="742"/>
                  </a:cubicBezTo>
                  <a:cubicBezTo>
                    <a:pt x="405" y="742"/>
                    <a:pt x="405" y="742"/>
                    <a:pt x="405" y="742"/>
                  </a:cubicBezTo>
                  <a:cubicBezTo>
                    <a:pt x="405" y="301"/>
                    <a:pt x="405" y="301"/>
                    <a:pt x="405" y="301"/>
                  </a:cubicBezTo>
                  <a:cubicBezTo>
                    <a:pt x="405" y="219"/>
                    <a:pt x="398" y="164"/>
                    <a:pt x="385" y="135"/>
                  </a:cubicBezTo>
                  <a:cubicBezTo>
                    <a:pt x="366" y="94"/>
                    <a:pt x="327" y="74"/>
                    <a:pt x="267" y="74"/>
                  </a:cubicBezTo>
                  <a:cubicBezTo>
                    <a:pt x="221" y="74"/>
                    <a:pt x="173" y="80"/>
                    <a:pt x="124" y="90"/>
                  </a:cubicBezTo>
                  <a:cubicBezTo>
                    <a:pt x="124" y="742"/>
                    <a:pt x="124" y="742"/>
                    <a:pt x="124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63" name="Freeform 62"/>
            <p:cNvSpPr>
              <a:spLocks noEditPoints="1"/>
            </p:cNvSpPr>
            <p:nvPr userDrawn="1"/>
          </p:nvSpPr>
          <p:spPr bwMode="gray">
            <a:xfrm>
              <a:off x="8062596" y="773113"/>
              <a:ext cx="53975" cy="68263"/>
            </a:xfrm>
            <a:custGeom>
              <a:avLst/>
              <a:gdLst/>
              <a:ahLst/>
              <a:cxnLst>
                <a:cxn ang="0">
                  <a:pos x="304" y="0"/>
                </a:cxn>
                <a:cxn ang="0">
                  <a:pos x="534" y="103"/>
                </a:cxn>
                <a:cxn ang="0">
                  <a:pos x="607" y="381"/>
                </a:cxn>
                <a:cxn ang="0">
                  <a:pos x="534" y="659"/>
                </a:cxn>
                <a:cxn ang="0">
                  <a:pos x="304" y="762"/>
                </a:cxn>
                <a:cxn ang="0">
                  <a:pos x="0" y="375"/>
                </a:cxn>
                <a:cxn ang="0">
                  <a:pos x="73" y="103"/>
                </a:cxn>
                <a:cxn ang="0">
                  <a:pos x="304" y="0"/>
                </a:cxn>
                <a:cxn ang="0">
                  <a:pos x="304" y="74"/>
                </a:cxn>
                <a:cxn ang="0">
                  <a:pos x="159" y="168"/>
                </a:cxn>
                <a:cxn ang="0">
                  <a:pos x="126" y="377"/>
                </a:cxn>
                <a:cxn ang="0">
                  <a:pos x="159" y="593"/>
                </a:cxn>
                <a:cxn ang="0">
                  <a:pos x="304" y="687"/>
                </a:cxn>
                <a:cxn ang="0">
                  <a:pos x="448" y="593"/>
                </a:cxn>
                <a:cxn ang="0">
                  <a:pos x="481" y="380"/>
                </a:cxn>
                <a:cxn ang="0">
                  <a:pos x="448" y="168"/>
                </a:cxn>
                <a:cxn ang="0">
                  <a:pos x="304" y="74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4" y="762"/>
                  </a:cubicBezTo>
                  <a:cubicBezTo>
                    <a:pt x="101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6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6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64" name="Freeform 63"/>
            <p:cNvSpPr>
              <a:spLocks/>
            </p:cNvSpPr>
            <p:nvPr userDrawn="1"/>
          </p:nvSpPr>
          <p:spPr bwMode="gray">
            <a:xfrm>
              <a:off x="8132446" y="773113"/>
              <a:ext cx="26988" cy="66675"/>
            </a:xfrm>
            <a:custGeom>
              <a:avLst/>
              <a:gdLst/>
              <a:ahLst/>
              <a:cxnLst>
                <a:cxn ang="0">
                  <a:pos x="0" y="742"/>
                </a:cxn>
                <a:cxn ang="0">
                  <a:pos x="0" y="31"/>
                </a:cxn>
                <a:cxn ang="0">
                  <a:pos x="312" y="0"/>
                </a:cxn>
                <a:cxn ang="0">
                  <a:pos x="312" y="77"/>
                </a:cxn>
                <a:cxn ang="0">
                  <a:pos x="124" y="90"/>
                </a:cxn>
                <a:cxn ang="0">
                  <a:pos x="124" y="742"/>
                </a:cxn>
                <a:cxn ang="0">
                  <a:pos x="0" y="742"/>
                </a:cxn>
              </a:cxnLst>
              <a:rect l="0" t="0" r="r" b="b"/>
              <a:pathLst>
                <a:path w="312" h="742">
                  <a:moveTo>
                    <a:pt x="0" y="742"/>
                  </a:moveTo>
                  <a:cubicBezTo>
                    <a:pt x="0" y="31"/>
                    <a:pt x="0" y="31"/>
                    <a:pt x="0" y="31"/>
                  </a:cubicBezTo>
                  <a:cubicBezTo>
                    <a:pt x="94" y="11"/>
                    <a:pt x="198" y="1"/>
                    <a:pt x="312" y="0"/>
                  </a:cubicBezTo>
                  <a:cubicBezTo>
                    <a:pt x="312" y="77"/>
                    <a:pt x="312" y="77"/>
                    <a:pt x="312" y="77"/>
                  </a:cubicBezTo>
                  <a:cubicBezTo>
                    <a:pt x="243" y="78"/>
                    <a:pt x="180" y="82"/>
                    <a:pt x="124" y="90"/>
                  </a:cubicBezTo>
                  <a:cubicBezTo>
                    <a:pt x="124" y="742"/>
                    <a:pt x="124" y="742"/>
                    <a:pt x="124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65" name="Freeform 64"/>
            <p:cNvSpPr>
              <a:spLocks/>
            </p:cNvSpPr>
            <p:nvPr userDrawn="1"/>
          </p:nvSpPr>
          <p:spPr bwMode="gray">
            <a:xfrm>
              <a:off x="8172133" y="773113"/>
              <a:ext cx="26988" cy="66675"/>
            </a:xfrm>
            <a:custGeom>
              <a:avLst/>
              <a:gdLst/>
              <a:ahLst/>
              <a:cxnLst>
                <a:cxn ang="0">
                  <a:pos x="0" y="742"/>
                </a:cxn>
                <a:cxn ang="0">
                  <a:pos x="0" y="31"/>
                </a:cxn>
                <a:cxn ang="0">
                  <a:pos x="312" y="0"/>
                </a:cxn>
                <a:cxn ang="0">
                  <a:pos x="312" y="77"/>
                </a:cxn>
                <a:cxn ang="0">
                  <a:pos x="124" y="90"/>
                </a:cxn>
                <a:cxn ang="0">
                  <a:pos x="124" y="742"/>
                </a:cxn>
                <a:cxn ang="0">
                  <a:pos x="0" y="742"/>
                </a:cxn>
              </a:cxnLst>
              <a:rect l="0" t="0" r="r" b="b"/>
              <a:pathLst>
                <a:path w="312" h="742">
                  <a:moveTo>
                    <a:pt x="0" y="742"/>
                  </a:moveTo>
                  <a:cubicBezTo>
                    <a:pt x="0" y="31"/>
                    <a:pt x="0" y="31"/>
                    <a:pt x="0" y="31"/>
                  </a:cubicBezTo>
                  <a:cubicBezTo>
                    <a:pt x="94" y="11"/>
                    <a:pt x="198" y="1"/>
                    <a:pt x="312" y="0"/>
                  </a:cubicBezTo>
                  <a:cubicBezTo>
                    <a:pt x="312" y="77"/>
                    <a:pt x="312" y="77"/>
                    <a:pt x="312" y="77"/>
                  </a:cubicBezTo>
                  <a:cubicBezTo>
                    <a:pt x="243" y="78"/>
                    <a:pt x="180" y="82"/>
                    <a:pt x="124" y="90"/>
                  </a:cubicBezTo>
                  <a:cubicBezTo>
                    <a:pt x="124" y="742"/>
                    <a:pt x="124" y="742"/>
                    <a:pt x="124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66" name="Freeform 65"/>
            <p:cNvSpPr>
              <a:spLocks noEditPoints="1"/>
            </p:cNvSpPr>
            <p:nvPr userDrawn="1"/>
          </p:nvSpPr>
          <p:spPr bwMode="gray">
            <a:xfrm>
              <a:off x="8207058" y="773113"/>
              <a:ext cx="53975" cy="68263"/>
            </a:xfrm>
            <a:custGeom>
              <a:avLst/>
              <a:gdLst/>
              <a:ahLst/>
              <a:cxnLst>
                <a:cxn ang="0">
                  <a:pos x="304" y="0"/>
                </a:cxn>
                <a:cxn ang="0">
                  <a:pos x="534" y="103"/>
                </a:cxn>
                <a:cxn ang="0">
                  <a:pos x="607" y="381"/>
                </a:cxn>
                <a:cxn ang="0">
                  <a:pos x="534" y="659"/>
                </a:cxn>
                <a:cxn ang="0">
                  <a:pos x="305" y="762"/>
                </a:cxn>
                <a:cxn ang="0">
                  <a:pos x="0" y="375"/>
                </a:cxn>
                <a:cxn ang="0">
                  <a:pos x="73" y="103"/>
                </a:cxn>
                <a:cxn ang="0">
                  <a:pos x="304" y="0"/>
                </a:cxn>
                <a:cxn ang="0">
                  <a:pos x="304" y="74"/>
                </a:cxn>
                <a:cxn ang="0">
                  <a:pos x="159" y="168"/>
                </a:cxn>
                <a:cxn ang="0">
                  <a:pos x="126" y="377"/>
                </a:cxn>
                <a:cxn ang="0">
                  <a:pos x="159" y="593"/>
                </a:cxn>
                <a:cxn ang="0">
                  <a:pos x="304" y="687"/>
                </a:cxn>
                <a:cxn ang="0">
                  <a:pos x="448" y="593"/>
                </a:cxn>
                <a:cxn ang="0">
                  <a:pos x="481" y="380"/>
                </a:cxn>
                <a:cxn ang="0">
                  <a:pos x="448" y="168"/>
                </a:cxn>
                <a:cxn ang="0">
                  <a:pos x="304" y="74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5" y="762"/>
                  </a:cubicBezTo>
                  <a:cubicBezTo>
                    <a:pt x="102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6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6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67" name="Freeform 66"/>
            <p:cNvSpPr>
              <a:spLocks/>
            </p:cNvSpPr>
            <p:nvPr userDrawn="1"/>
          </p:nvSpPr>
          <p:spPr bwMode="gray">
            <a:xfrm>
              <a:off x="8267383" y="774700"/>
              <a:ext cx="82550" cy="65088"/>
            </a:xfrm>
            <a:custGeom>
              <a:avLst/>
              <a:gdLst/>
              <a:ahLst/>
              <a:cxnLst>
                <a:cxn ang="0">
                  <a:pos x="204" y="722"/>
                </a:cxn>
                <a:cxn ang="0">
                  <a:pos x="0" y="0"/>
                </a:cxn>
                <a:cxn ang="0">
                  <a:pos x="124" y="0"/>
                </a:cxn>
                <a:cxn ang="0">
                  <a:pos x="277" y="588"/>
                </a:cxn>
                <a:cxn ang="0">
                  <a:pos x="412" y="0"/>
                </a:cxn>
                <a:cxn ang="0">
                  <a:pos x="534" y="0"/>
                </a:cxn>
                <a:cxn ang="0">
                  <a:pos x="676" y="588"/>
                </a:cxn>
                <a:cxn ang="0">
                  <a:pos x="828" y="0"/>
                </a:cxn>
                <a:cxn ang="0">
                  <a:pos x="929" y="0"/>
                </a:cxn>
                <a:cxn ang="0">
                  <a:pos x="726" y="722"/>
                </a:cxn>
                <a:cxn ang="0">
                  <a:pos x="603" y="722"/>
                </a:cxn>
                <a:cxn ang="0">
                  <a:pos x="495" y="255"/>
                </a:cxn>
                <a:cxn ang="0">
                  <a:pos x="468" y="107"/>
                </a:cxn>
                <a:cxn ang="0">
                  <a:pos x="440" y="254"/>
                </a:cxn>
                <a:cxn ang="0">
                  <a:pos x="332" y="722"/>
                </a:cxn>
                <a:cxn ang="0">
                  <a:pos x="204" y="722"/>
                </a:cxn>
              </a:cxnLst>
              <a:rect l="0" t="0" r="r" b="b"/>
              <a:pathLst>
                <a:path w="929" h="722">
                  <a:moveTo>
                    <a:pt x="204" y="722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277" y="588"/>
                    <a:pt x="277" y="588"/>
                    <a:pt x="277" y="588"/>
                  </a:cubicBezTo>
                  <a:cubicBezTo>
                    <a:pt x="412" y="0"/>
                    <a:pt x="412" y="0"/>
                    <a:pt x="412" y="0"/>
                  </a:cubicBezTo>
                  <a:cubicBezTo>
                    <a:pt x="534" y="0"/>
                    <a:pt x="534" y="0"/>
                    <a:pt x="534" y="0"/>
                  </a:cubicBezTo>
                  <a:cubicBezTo>
                    <a:pt x="676" y="588"/>
                    <a:pt x="676" y="588"/>
                    <a:pt x="676" y="588"/>
                  </a:cubicBezTo>
                  <a:cubicBezTo>
                    <a:pt x="828" y="0"/>
                    <a:pt x="828" y="0"/>
                    <a:pt x="828" y="0"/>
                  </a:cubicBezTo>
                  <a:cubicBezTo>
                    <a:pt x="929" y="0"/>
                    <a:pt x="929" y="0"/>
                    <a:pt x="929" y="0"/>
                  </a:cubicBezTo>
                  <a:cubicBezTo>
                    <a:pt x="726" y="722"/>
                    <a:pt x="726" y="722"/>
                    <a:pt x="726" y="722"/>
                  </a:cubicBezTo>
                  <a:cubicBezTo>
                    <a:pt x="603" y="722"/>
                    <a:pt x="603" y="722"/>
                    <a:pt x="603" y="722"/>
                  </a:cubicBezTo>
                  <a:cubicBezTo>
                    <a:pt x="495" y="255"/>
                    <a:pt x="495" y="255"/>
                    <a:pt x="495" y="255"/>
                  </a:cubicBezTo>
                  <a:cubicBezTo>
                    <a:pt x="487" y="221"/>
                    <a:pt x="478" y="172"/>
                    <a:pt x="468" y="107"/>
                  </a:cubicBezTo>
                  <a:cubicBezTo>
                    <a:pt x="460" y="159"/>
                    <a:pt x="451" y="208"/>
                    <a:pt x="440" y="254"/>
                  </a:cubicBezTo>
                  <a:cubicBezTo>
                    <a:pt x="332" y="722"/>
                    <a:pt x="332" y="722"/>
                    <a:pt x="332" y="722"/>
                  </a:cubicBezTo>
                  <a:lnTo>
                    <a:pt x="204" y="72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68" name="Freeform 67"/>
            <p:cNvSpPr>
              <a:spLocks/>
            </p:cNvSpPr>
            <p:nvPr userDrawn="1"/>
          </p:nvSpPr>
          <p:spPr bwMode="gray">
            <a:xfrm>
              <a:off x="8381683" y="774700"/>
              <a:ext cx="82550" cy="65088"/>
            </a:xfrm>
            <a:custGeom>
              <a:avLst/>
              <a:gdLst/>
              <a:ahLst/>
              <a:cxnLst>
                <a:cxn ang="0">
                  <a:pos x="204" y="722"/>
                </a:cxn>
                <a:cxn ang="0">
                  <a:pos x="0" y="0"/>
                </a:cxn>
                <a:cxn ang="0">
                  <a:pos x="125" y="0"/>
                </a:cxn>
                <a:cxn ang="0">
                  <a:pos x="277" y="588"/>
                </a:cxn>
                <a:cxn ang="0">
                  <a:pos x="412" y="0"/>
                </a:cxn>
                <a:cxn ang="0">
                  <a:pos x="535" y="0"/>
                </a:cxn>
                <a:cxn ang="0">
                  <a:pos x="676" y="588"/>
                </a:cxn>
                <a:cxn ang="0">
                  <a:pos x="829" y="0"/>
                </a:cxn>
                <a:cxn ang="0">
                  <a:pos x="930" y="0"/>
                </a:cxn>
                <a:cxn ang="0">
                  <a:pos x="726" y="722"/>
                </a:cxn>
                <a:cxn ang="0">
                  <a:pos x="604" y="722"/>
                </a:cxn>
                <a:cxn ang="0">
                  <a:pos x="495" y="255"/>
                </a:cxn>
                <a:cxn ang="0">
                  <a:pos x="468" y="107"/>
                </a:cxn>
                <a:cxn ang="0">
                  <a:pos x="441" y="254"/>
                </a:cxn>
                <a:cxn ang="0">
                  <a:pos x="332" y="722"/>
                </a:cxn>
                <a:cxn ang="0">
                  <a:pos x="204" y="722"/>
                </a:cxn>
              </a:cxnLst>
              <a:rect l="0" t="0" r="r" b="b"/>
              <a:pathLst>
                <a:path w="930" h="722">
                  <a:moveTo>
                    <a:pt x="204" y="722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277" y="588"/>
                    <a:pt x="277" y="588"/>
                    <a:pt x="277" y="588"/>
                  </a:cubicBezTo>
                  <a:cubicBezTo>
                    <a:pt x="412" y="0"/>
                    <a:pt x="412" y="0"/>
                    <a:pt x="412" y="0"/>
                  </a:cubicBezTo>
                  <a:cubicBezTo>
                    <a:pt x="535" y="0"/>
                    <a:pt x="535" y="0"/>
                    <a:pt x="535" y="0"/>
                  </a:cubicBezTo>
                  <a:cubicBezTo>
                    <a:pt x="676" y="588"/>
                    <a:pt x="676" y="588"/>
                    <a:pt x="676" y="588"/>
                  </a:cubicBezTo>
                  <a:cubicBezTo>
                    <a:pt x="829" y="0"/>
                    <a:pt x="829" y="0"/>
                    <a:pt x="829" y="0"/>
                  </a:cubicBezTo>
                  <a:cubicBezTo>
                    <a:pt x="930" y="0"/>
                    <a:pt x="930" y="0"/>
                    <a:pt x="930" y="0"/>
                  </a:cubicBezTo>
                  <a:cubicBezTo>
                    <a:pt x="726" y="722"/>
                    <a:pt x="726" y="722"/>
                    <a:pt x="726" y="722"/>
                  </a:cubicBezTo>
                  <a:cubicBezTo>
                    <a:pt x="604" y="722"/>
                    <a:pt x="604" y="722"/>
                    <a:pt x="604" y="722"/>
                  </a:cubicBezTo>
                  <a:cubicBezTo>
                    <a:pt x="495" y="255"/>
                    <a:pt x="495" y="255"/>
                    <a:pt x="495" y="255"/>
                  </a:cubicBezTo>
                  <a:cubicBezTo>
                    <a:pt x="488" y="221"/>
                    <a:pt x="479" y="172"/>
                    <a:pt x="468" y="107"/>
                  </a:cubicBezTo>
                  <a:cubicBezTo>
                    <a:pt x="460" y="159"/>
                    <a:pt x="451" y="208"/>
                    <a:pt x="441" y="254"/>
                  </a:cubicBezTo>
                  <a:cubicBezTo>
                    <a:pt x="332" y="722"/>
                    <a:pt x="332" y="722"/>
                    <a:pt x="332" y="722"/>
                  </a:cubicBezTo>
                  <a:lnTo>
                    <a:pt x="204" y="72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69" name="Freeform 68"/>
            <p:cNvSpPr>
              <a:spLocks noEditPoints="1"/>
            </p:cNvSpPr>
            <p:nvPr userDrawn="1"/>
          </p:nvSpPr>
          <p:spPr bwMode="gray">
            <a:xfrm>
              <a:off x="8475346" y="752475"/>
              <a:ext cx="14288" cy="87313"/>
            </a:xfrm>
            <a:custGeom>
              <a:avLst/>
              <a:gdLst/>
              <a:ahLst/>
              <a:cxnLst>
                <a:cxn ang="0">
                  <a:pos x="76" y="0"/>
                </a:cxn>
                <a:cxn ang="0">
                  <a:pos x="132" y="25"/>
                </a:cxn>
                <a:cxn ang="0">
                  <a:pos x="151" y="76"/>
                </a:cxn>
                <a:cxn ang="0">
                  <a:pos x="126" y="132"/>
                </a:cxn>
                <a:cxn ang="0">
                  <a:pos x="75" y="151"/>
                </a:cxn>
                <a:cxn ang="0">
                  <a:pos x="20" y="127"/>
                </a:cxn>
                <a:cxn ang="0">
                  <a:pos x="0" y="75"/>
                </a:cxn>
                <a:cxn ang="0">
                  <a:pos x="25" y="20"/>
                </a:cxn>
                <a:cxn ang="0">
                  <a:pos x="76" y="0"/>
                </a:cxn>
                <a:cxn ang="0">
                  <a:pos x="15" y="987"/>
                </a:cxn>
                <a:cxn ang="0">
                  <a:pos x="15" y="265"/>
                </a:cxn>
                <a:cxn ang="0">
                  <a:pos x="139" y="265"/>
                </a:cxn>
                <a:cxn ang="0">
                  <a:pos x="139" y="987"/>
                </a:cxn>
                <a:cxn ang="0">
                  <a:pos x="15" y="987"/>
                </a:cxn>
              </a:cxnLst>
              <a:rect l="0" t="0" r="r" b="b"/>
              <a:pathLst>
                <a:path w="151" h="987">
                  <a:moveTo>
                    <a:pt x="76" y="0"/>
                  </a:moveTo>
                  <a:cubicBezTo>
                    <a:pt x="98" y="0"/>
                    <a:pt x="117" y="9"/>
                    <a:pt x="132" y="25"/>
                  </a:cubicBezTo>
                  <a:cubicBezTo>
                    <a:pt x="145" y="40"/>
                    <a:pt x="151" y="57"/>
                    <a:pt x="151" y="76"/>
                  </a:cubicBezTo>
                  <a:cubicBezTo>
                    <a:pt x="151" y="98"/>
                    <a:pt x="143" y="117"/>
                    <a:pt x="126" y="132"/>
                  </a:cubicBezTo>
                  <a:cubicBezTo>
                    <a:pt x="112" y="145"/>
                    <a:pt x="95" y="151"/>
                    <a:pt x="75" y="151"/>
                  </a:cubicBezTo>
                  <a:cubicBezTo>
                    <a:pt x="53" y="151"/>
                    <a:pt x="34" y="143"/>
                    <a:pt x="20" y="127"/>
                  </a:cubicBezTo>
                  <a:cubicBezTo>
                    <a:pt x="7" y="112"/>
                    <a:pt x="0" y="95"/>
                    <a:pt x="0" y="75"/>
                  </a:cubicBezTo>
                  <a:cubicBezTo>
                    <a:pt x="0" y="53"/>
                    <a:pt x="9" y="35"/>
                    <a:pt x="25" y="20"/>
                  </a:cubicBezTo>
                  <a:cubicBezTo>
                    <a:pt x="39" y="7"/>
                    <a:pt x="56" y="0"/>
                    <a:pt x="76" y="0"/>
                  </a:cubicBezTo>
                  <a:close/>
                  <a:moveTo>
                    <a:pt x="15" y="987"/>
                  </a:moveTo>
                  <a:cubicBezTo>
                    <a:pt x="15" y="265"/>
                    <a:pt x="15" y="265"/>
                    <a:pt x="15" y="265"/>
                  </a:cubicBezTo>
                  <a:cubicBezTo>
                    <a:pt x="139" y="265"/>
                    <a:pt x="139" y="265"/>
                    <a:pt x="139" y="265"/>
                  </a:cubicBezTo>
                  <a:cubicBezTo>
                    <a:pt x="139" y="987"/>
                    <a:pt x="139" y="987"/>
                    <a:pt x="139" y="987"/>
                  </a:cubicBezTo>
                  <a:lnTo>
                    <a:pt x="15" y="9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70" name="Freeform 69"/>
            <p:cNvSpPr>
              <a:spLocks/>
            </p:cNvSpPr>
            <p:nvPr userDrawn="1"/>
          </p:nvSpPr>
          <p:spPr bwMode="gray">
            <a:xfrm>
              <a:off x="8508683" y="758825"/>
              <a:ext cx="28575" cy="8096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4" y="0"/>
                </a:cxn>
                <a:cxn ang="0">
                  <a:pos x="124" y="195"/>
                </a:cxn>
                <a:cxn ang="0">
                  <a:pos x="318" y="195"/>
                </a:cxn>
                <a:cxn ang="0">
                  <a:pos x="318" y="273"/>
                </a:cxn>
                <a:cxn ang="0">
                  <a:pos x="124" y="273"/>
                </a:cxn>
                <a:cxn ang="0">
                  <a:pos x="124" y="656"/>
                </a:cxn>
                <a:cxn ang="0">
                  <a:pos x="156" y="804"/>
                </a:cxn>
                <a:cxn ang="0">
                  <a:pos x="225" y="836"/>
                </a:cxn>
                <a:cxn ang="0">
                  <a:pos x="277" y="838"/>
                </a:cxn>
                <a:cxn ang="0">
                  <a:pos x="318" y="838"/>
                </a:cxn>
                <a:cxn ang="0">
                  <a:pos x="318" y="917"/>
                </a:cxn>
                <a:cxn ang="0">
                  <a:pos x="251" y="917"/>
                </a:cxn>
                <a:cxn ang="0">
                  <a:pos x="127" y="904"/>
                </a:cxn>
                <a:cxn ang="0">
                  <a:pos x="11" y="782"/>
                </a:cxn>
                <a:cxn ang="0">
                  <a:pos x="0" y="638"/>
                </a:cxn>
                <a:cxn ang="0">
                  <a:pos x="0" y="0"/>
                </a:cxn>
              </a:cxnLst>
              <a:rect l="0" t="0" r="r" b="b"/>
              <a:pathLst>
                <a:path w="318" h="917">
                  <a:moveTo>
                    <a:pt x="0" y="0"/>
                  </a:moveTo>
                  <a:cubicBezTo>
                    <a:pt x="124" y="0"/>
                    <a:pt x="124" y="0"/>
                    <a:pt x="124" y="0"/>
                  </a:cubicBezTo>
                  <a:cubicBezTo>
                    <a:pt x="124" y="195"/>
                    <a:pt x="124" y="195"/>
                    <a:pt x="124" y="195"/>
                  </a:cubicBezTo>
                  <a:cubicBezTo>
                    <a:pt x="318" y="195"/>
                    <a:pt x="318" y="195"/>
                    <a:pt x="318" y="195"/>
                  </a:cubicBezTo>
                  <a:cubicBezTo>
                    <a:pt x="318" y="273"/>
                    <a:pt x="318" y="273"/>
                    <a:pt x="318" y="273"/>
                  </a:cubicBezTo>
                  <a:cubicBezTo>
                    <a:pt x="124" y="273"/>
                    <a:pt x="124" y="273"/>
                    <a:pt x="124" y="273"/>
                  </a:cubicBezTo>
                  <a:cubicBezTo>
                    <a:pt x="124" y="656"/>
                    <a:pt x="124" y="656"/>
                    <a:pt x="124" y="656"/>
                  </a:cubicBezTo>
                  <a:cubicBezTo>
                    <a:pt x="124" y="729"/>
                    <a:pt x="135" y="778"/>
                    <a:pt x="156" y="804"/>
                  </a:cubicBezTo>
                  <a:cubicBezTo>
                    <a:pt x="171" y="821"/>
                    <a:pt x="194" y="832"/>
                    <a:pt x="225" y="836"/>
                  </a:cubicBezTo>
                  <a:cubicBezTo>
                    <a:pt x="235" y="837"/>
                    <a:pt x="252" y="838"/>
                    <a:pt x="277" y="838"/>
                  </a:cubicBezTo>
                  <a:cubicBezTo>
                    <a:pt x="318" y="838"/>
                    <a:pt x="318" y="838"/>
                    <a:pt x="318" y="838"/>
                  </a:cubicBezTo>
                  <a:cubicBezTo>
                    <a:pt x="318" y="917"/>
                    <a:pt x="318" y="917"/>
                    <a:pt x="318" y="917"/>
                  </a:cubicBezTo>
                  <a:cubicBezTo>
                    <a:pt x="251" y="917"/>
                    <a:pt x="251" y="917"/>
                    <a:pt x="251" y="917"/>
                  </a:cubicBezTo>
                  <a:cubicBezTo>
                    <a:pt x="198" y="917"/>
                    <a:pt x="157" y="913"/>
                    <a:pt x="127" y="904"/>
                  </a:cubicBezTo>
                  <a:cubicBezTo>
                    <a:pt x="64" y="887"/>
                    <a:pt x="25" y="846"/>
                    <a:pt x="11" y="782"/>
                  </a:cubicBezTo>
                  <a:cubicBezTo>
                    <a:pt x="4" y="747"/>
                    <a:pt x="0" y="699"/>
                    <a:pt x="0" y="638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71" name="Freeform 70"/>
            <p:cNvSpPr>
              <a:spLocks/>
            </p:cNvSpPr>
            <p:nvPr userDrawn="1"/>
          </p:nvSpPr>
          <p:spPr bwMode="gray">
            <a:xfrm>
              <a:off x="8549958" y="742950"/>
              <a:ext cx="49213" cy="96838"/>
            </a:xfrm>
            <a:custGeom>
              <a:avLst/>
              <a:gdLst/>
              <a:ahLst/>
              <a:cxnLst>
                <a:cxn ang="0">
                  <a:pos x="0" y="1087"/>
                </a:cxn>
                <a:cxn ang="0">
                  <a:pos x="0" y="0"/>
                </a:cxn>
                <a:cxn ang="0">
                  <a:pos x="124" y="0"/>
                </a:cxn>
                <a:cxn ang="0">
                  <a:pos x="124" y="382"/>
                </a:cxn>
                <a:cxn ang="0">
                  <a:pos x="306" y="345"/>
                </a:cxn>
                <a:cxn ang="0">
                  <a:pos x="526" y="458"/>
                </a:cxn>
                <a:cxn ang="0">
                  <a:pos x="548" y="644"/>
                </a:cxn>
                <a:cxn ang="0">
                  <a:pos x="548" y="1087"/>
                </a:cxn>
                <a:cxn ang="0">
                  <a:pos x="425" y="1087"/>
                </a:cxn>
                <a:cxn ang="0">
                  <a:pos x="425" y="624"/>
                </a:cxn>
                <a:cxn ang="0">
                  <a:pos x="403" y="477"/>
                </a:cxn>
                <a:cxn ang="0">
                  <a:pos x="294" y="419"/>
                </a:cxn>
                <a:cxn ang="0">
                  <a:pos x="124" y="463"/>
                </a:cxn>
                <a:cxn ang="0">
                  <a:pos x="124" y="1087"/>
                </a:cxn>
                <a:cxn ang="0">
                  <a:pos x="0" y="1087"/>
                </a:cxn>
              </a:cxnLst>
              <a:rect l="0" t="0" r="r" b="b"/>
              <a:pathLst>
                <a:path w="548" h="1087">
                  <a:moveTo>
                    <a:pt x="0" y="108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24" y="382"/>
                    <a:pt x="124" y="382"/>
                    <a:pt x="124" y="382"/>
                  </a:cubicBezTo>
                  <a:cubicBezTo>
                    <a:pt x="188" y="357"/>
                    <a:pt x="249" y="345"/>
                    <a:pt x="306" y="345"/>
                  </a:cubicBezTo>
                  <a:cubicBezTo>
                    <a:pt x="420" y="345"/>
                    <a:pt x="493" y="382"/>
                    <a:pt x="526" y="458"/>
                  </a:cubicBezTo>
                  <a:cubicBezTo>
                    <a:pt x="541" y="492"/>
                    <a:pt x="548" y="554"/>
                    <a:pt x="548" y="644"/>
                  </a:cubicBezTo>
                  <a:cubicBezTo>
                    <a:pt x="548" y="1087"/>
                    <a:pt x="548" y="1087"/>
                    <a:pt x="548" y="1087"/>
                  </a:cubicBezTo>
                  <a:cubicBezTo>
                    <a:pt x="425" y="1087"/>
                    <a:pt x="425" y="1087"/>
                    <a:pt x="425" y="1087"/>
                  </a:cubicBezTo>
                  <a:cubicBezTo>
                    <a:pt x="425" y="624"/>
                    <a:pt x="425" y="624"/>
                    <a:pt x="425" y="624"/>
                  </a:cubicBezTo>
                  <a:cubicBezTo>
                    <a:pt x="425" y="555"/>
                    <a:pt x="418" y="506"/>
                    <a:pt x="403" y="477"/>
                  </a:cubicBezTo>
                  <a:cubicBezTo>
                    <a:pt x="384" y="439"/>
                    <a:pt x="347" y="419"/>
                    <a:pt x="294" y="419"/>
                  </a:cubicBezTo>
                  <a:cubicBezTo>
                    <a:pt x="245" y="419"/>
                    <a:pt x="189" y="434"/>
                    <a:pt x="124" y="463"/>
                  </a:cubicBezTo>
                  <a:cubicBezTo>
                    <a:pt x="124" y="1087"/>
                    <a:pt x="124" y="1087"/>
                    <a:pt x="124" y="1087"/>
                  </a:cubicBezTo>
                  <a:lnTo>
                    <a:pt x="0" y="10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72" name="Freeform 71"/>
            <p:cNvSpPr>
              <a:spLocks/>
            </p:cNvSpPr>
            <p:nvPr userDrawn="1"/>
          </p:nvSpPr>
          <p:spPr bwMode="gray">
            <a:xfrm>
              <a:off x="8638858" y="774700"/>
              <a:ext cx="53975" cy="95250"/>
            </a:xfrm>
            <a:custGeom>
              <a:avLst/>
              <a:gdLst/>
              <a:ahLst/>
              <a:cxnLst>
                <a:cxn ang="0">
                  <a:pos x="15" y="41"/>
                </a:cxn>
                <a:cxn ang="0">
                  <a:pos x="0" y="0"/>
                </a:cxn>
                <a:cxn ang="0">
                  <a:pos x="7" y="0"/>
                </a:cxn>
                <a:cxn ang="0">
                  <a:pos x="18" y="33"/>
                </a:cxn>
                <a:cxn ang="0">
                  <a:pos x="28" y="0"/>
                </a:cxn>
                <a:cxn ang="0">
                  <a:pos x="34" y="0"/>
                </a:cxn>
                <a:cxn ang="0">
                  <a:pos x="14" y="60"/>
                </a:cxn>
                <a:cxn ang="0">
                  <a:pos x="8" y="60"/>
                </a:cxn>
                <a:cxn ang="0">
                  <a:pos x="15" y="41"/>
                </a:cxn>
              </a:cxnLst>
              <a:rect l="0" t="0" r="r" b="b"/>
              <a:pathLst>
                <a:path w="34" h="60">
                  <a:moveTo>
                    <a:pt x="15" y="41"/>
                  </a:moveTo>
                  <a:lnTo>
                    <a:pt x="0" y="0"/>
                  </a:lnTo>
                  <a:lnTo>
                    <a:pt x="7" y="0"/>
                  </a:lnTo>
                  <a:lnTo>
                    <a:pt x="18" y="33"/>
                  </a:lnTo>
                  <a:lnTo>
                    <a:pt x="28" y="0"/>
                  </a:lnTo>
                  <a:lnTo>
                    <a:pt x="34" y="0"/>
                  </a:lnTo>
                  <a:lnTo>
                    <a:pt x="14" y="60"/>
                  </a:lnTo>
                  <a:lnTo>
                    <a:pt x="8" y="60"/>
                  </a:lnTo>
                  <a:lnTo>
                    <a:pt x="15" y="4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73" name="Freeform 72"/>
            <p:cNvSpPr>
              <a:spLocks noEditPoints="1"/>
            </p:cNvSpPr>
            <p:nvPr userDrawn="1"/>
          </p:nvSpPr>
          <p:spPr bwMode="gray">
            <a:xfrm>
              <a:off x="8699183" y="773113"/>
              <a:ext cx="53975" cy="68263"/>
            </a:xfrm>
            <a:custGeom>
              <a:avLst/>
              <a:gdLst/>
              <a:ahLst/>
              <a:cxnLst>
                <a:cxn ang="0">
                  <a:pos x="304" y="0"/>
                </a:cxn>
                <a:cxn ang="0">
                  <a:pos x="534" y="103"/>
                </a:cxn>
                <a:cxn ang="0">
                  <a:pos x="607" y="381"/>
                </a:cxn>
                <a:cxn ang="0">
                  <a:pos x="534" y="659"/>
                </a:cxn>
                <a:cxn ang="0">
                  <a:pos x="304" y="762"/>
                </a:cxn>
                <a:cxn ang="0">
                  <a:pos x="0" y="375"/>
                </a:cxn>
                <a:cxn ang="0">
                  <a:pos x="73" y="103"/>
                </a:cxn>
                <a:cxn ang="0">
                  <a:pos x="304" y="0"/>
                </a:cxn>
                <a:cxn ang="0">
                  <a:pos x="304" y="74"/>
                </a:cxn>
                <a:cxn ang="0">
                  <a:pos x="159" y="168"/>
                </a:cxn>
                <a:cxn ang="0">
                  <a:pos x="126" y="377"/>
                </a:cxn>
                <a:cxn ang="0">
                  <a:pos x="159" y="593"/>
                </a:cxn>
                <a:cxn ang="0">
                  <a:pos x="304" y="687"/>
                </a:cxn>
                <a:cxn ang="0">
                  <a:pos x="448" y="593"/>
                </a:cxn>
                <a:cxn ang="0">
                  <a:pos x="481" y="380"/>
                </a:cxn>
                <a:cxn ang="0">
                  <a:pos x="448" y="168"/>
                </a:cxn>
                <a:cxn ang="0">
                  <a:pos x="304" y="74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4" y="762"/>
                  </a:cubicBezTo>
                  <a:cubicBezTo>
                    <a:pt x="101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5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5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74" name="Freeform 73"/>
            <p:cNvSpPr>
              <a:spLocks/>
            </p:cNvSpPr>
            <p:nvPr userDrawn="1"/>
          </p:nvSpPr>
          <p:spPr bwMode="gray">
            <a:xfrm>
              <a:off x="8769033" y="774700"/>
              <a:ext cx="46038" cy="666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3" y="0"/>
                </a:cxn>
                <a:cxn ang="0">
                  <a:pos x="123" y="445"/>
                </a:cxn>
                <a:cxn ang="0">
                  <a:pos x="145" y="609"/>
                </a:cxn>
                <a:cxn ang="0">
                  <a:pos x="197" y="656"/>
                </a:cxn>
                <a:cxn ang="0">
                  <a:pos x="276" y="667"/>
                </a:cxn>
                <a:cxn ang="0">
                  <a:pos x="403" y="648"/>
                </a:cxn>
                <a:cxn ang="0">
                  <a:pos x="403" y="0"/>
                </a:cxn>
                <a:cxn ang="0">
                  <a:pos x="527" y="0"/>
                </a:cxn>
                <a:cxn ang="0">
                  <a:pos x="527" y="710"/>
                </a:cxn>
                <a:cxn ang="0">
                  <a:pos x="269" y="742"/>
                </a:cxn>
                <a:cxn ang="0">
                  <a:pos x="86" y="703"/>
                </a:cxn>
                <a:cxn ang="0">
                  <a:pos x="6" y="567"/>
                </a:cxn>
                <a:cxn ang="0">
                  <a:pos x="0" y="454"/>
                </a:cxn>
                <a:cxn ang="0">
                  <a:pos x="0" y="0"/>
                </a:cxn>
              </a:cxnLst>
              <a:rect l="0" t="0" r="r" b="b"/>
              <a:pathLst>
                <a:path w="527" h="742">
                  <a:moveTo>
                    <a:pt x="0" y="0"/>
                  </a:moveTo>
                  <a:cubicBezTo>
                    <a:pt x="123" y="0"/>
                    <a:pt x="123" y="0"/>
                    <a:pt x="123" y="0"/>
                  </a:cubicBezTo>
                  <a:cubicBezTo>
                    <a:pt x="123" y="445"/>
                    <a:pt x="123" y="445"/>
                    <a:pt x="123" y="445"/>
                  </a:cubicBezTo>
                  <a:cubicBezTo>
                    <a:pt x="123" y="527"/>
                    <a:pt x="131" y="582"/>
                    <a:pt x="145" y="609"/>
                  </a:cubicBezTo>
                  <a:cubicBezTo>
                    <a:pt x="157" y="632"/>
                    <a:pt x="174" y="648"/>
                    <a:pt x="197" y="656"/>
                  </a:cubicBezTo>
                  <a:cubicBezTo>
                    <a:pt x="216" y="663"/>
                    <a:pt x="242" y="667"/>
                    <a:pt x="276" y="667"/>
                  </a:cubicBezTo>
                  <a:cubicBezTo>
                    <a:pt x="317" y="667"/>
                    <a:pt x="359" y="661"/>
                    <a:pt x="403" y="648"/>
                  </a:cubicBezTo>
                  <a:cubicBezTo>
                    <a:pt x="403" y="0"/>
                    <a:pt x="403" y="0"/>
                    <a:pt x="403" y="0"/>
                  </a:cubicBezTo>
                  <a:cubicBezTo>
                    <a:pt x="527" y="0"/>
                    <a:pt x="527" y="0"/>
                    <a:pt x="527" y="0"/>
                  </a:cubicBezTo>
                  <a:cubicBezTo>
                    <a:pt x="527" y="710"/>
                    <a:pt x="527" y="710"/>
                    <a:pt x="527" y="710"/>
                  </a:cubicBezTo>
                  <a:cubicBezTo>
                    <a:pt x="435" y="731"/>
                    <a:pt x="349" y="742"/>
                    <a:pt x="269" y="742"/>
                  </a:cubicBezTo>
                  <a:cubicBezTo>
                    <a:pt x="187" y="742"/>
                    <a:pt x="126" y="729"/>
                    <a:pt x="86" y="703"/>
                  </a:cubicBezTo>
                  <a:cubicBezTo>
                    <a:pt x="41" y="674"/>
                    <a:pt x="14" y="629"/>
                    <a:pt x="6" y="567"/>
                  </a:cubicBezTo>
                  <a:cubicBezTo>
                    <a:pt x="2" y="539"/>
                    <a:pt x="0" y="501"/>
                    <a:pt x="0" y="45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grpSp>
          <p:nvGrpSpPr>
            <p:cNvPr id="75" name="Group 129"/>
            <p:cNvGrpSpPr/>
            <p:nvPr userDrawn="1"/>
          </p:nvGrpSpPr>
          <p:grpSpPr bwMode="gray">
            <a:xfrm>
              <a:off x="7792721" y="157163"/>
              <a:ext cx="1038225" cy="504825"/>
              <a:chOff x="7792721" y="157163"/>
              <a:chExt cx="1038225" cy="504825"/>
            </a:xfrm>
          </p:grpSpPr>
          <p:sp>
            <p:nvSpPr>
              <p:cNvPr id="76" name="Freeform 71"/>
              <p:cNvSpPr>
                <a:spLocks/>
              </p:cNvSpPr>
              <p:nvPr userDrawn="1"/>
            </p:nvSpPr>
            <p:spPr bwMode="gray">
              <a:xfrm>
                <a:off x="8135621" y="157163"/>
                <a:ext cx="209550" cy="161925"/>
              </a:xfrm>
              <a:custGeom>
                <a:avLst/>
                <a:gdLst/>
                <a:ahLst/>
                <a:cxnLst>
                  <a:cxn ang="0">
                    <a:pos x="961" y="764"/>
                  </a:cxn>
                  <a:cxn ang="0">
                    <a:pos x="599" y="642"/>
                  </a:cxn>
                  <a:cxn ang="0">
                    <a:pos x="1" y="1235"/>
                  </a:cxn>
                  <a:cxn ang="0">
                    <a:pos x="599" y="1825"/>
                  </a:cxn>
                  <a:cxn ang="0">
                    <a:pos x="1053" y="1619"/>
                  </a:cxn>
                  <a:cxn ang="0">
                    <a:pos x="1053" y="1293"/>
                  </a:cxn>
                  <a:cxn ang="0">
                    <a:pos x="771" y="1568"/>
                  </a:cxn>
                  <a:cxn ang="0">
                    <a:pos x="599" y="1604"/>
                  </a:cxn>
                  <a:cxn ang="0">
                    <a:pos x="225" y="1235"/>
                  </a:cxn>
                  <a:cxn ang="0">
                    <a:pos x="599" y="863"/>
                  </a:cxn>
                  <a:cxn ang="0">
                    <a:pos x="861" y="972"/>
                  </a:cxn>
                  <a:cxn ang="0">
                    <a:pos x="1093" y="1239"/>
                  </a:cxn>
                  <a:cxn ang="0">
                    <a:pos x="1630" y="1473"/>
                  </a:cxn>
                  <a:cxn ang="0">
                    <a:pos x="2365" y="741"/>
                  </a:cxn>
                  <a:cxn ang="0">
                    <a:pos x="1630" y="0"/>
                  </a:cxn>
                  <a:cxn ang="0">
                    <a:pos x="1053" y="295"/>
                  </a:cxn>
                  <a:cxn ang="0">
                    <a:pos x="1053" y="735"/>
                  </a:cxn>
                  <a:cxn ang="0">
                    <a:pos x="1630" y="232"/>
                  </a:cxn>
                  <a:cxn ang="0">
                    <a:pos x="2134" y="741"/>
                  </a:cxn>
                  <a:cxn ang="0">
                    <a:pos x="1630" y="1245"/>
                  </a:cxn>
                  <a:cxn ang="0">
                    <a:pos x="1303" y="1125"/>
                  </a:cxn>
                  <a:cxn ang="0">
                    <a:pos x="961" y="764"/>
                  </a:cxn>
                </a:cxnLst>
                <a:rect l="0" t="0" r="r" b="b"/>
                <a:pathLst>
                  <a:path w="2365" h="1825">
                    <a:moveTo>
                      <a:pt x="961" y="764"/>
                    </a:moveTo>
                    <a:cubicBezTo>
                      <a:pt x="875" y="688"/>
                      <a:pt x="736" y="643"/>
                      <a:pt x="599" y="642"/>
                    </a:cubicBezTo>
                    <a:cubicBezTo>
                      <a:pt x="270" y="641"/>
                      <a:pt x="2" y="900"/>
                      <a:pt x="1" y="1235"/>
                    </a:cubicBezTo>
                    <a:cubicBezTo>
                      <a:pt x="0" y="1563"/>
                      <a:pt x="270" y="1824"/>
                      <a:pt x="599" y="1825"/>
                    </a:cubicBezTo>
                    <a:cubicBezTo>
                      <a:pt x="783" y="1825"/>
                      <a:pt x="943" y="1751"/>
                      <a:pt x="1053" y="1619"/>
                    </a:cubicBezTo>
                    <a:cubicBezTo>
                      <a:pt x="1053" y="1293"/>
                      <a:pt x="1053" y="1293"/>
                      <a:pt x="1053" y="1293"/>
                    </a:cubicBezTo>
                    <a:cubicBezTo>
                      <a:pt x="994" y="1394"/>
                      <a:pt x="877" y="1524"/>
                      <a:pt x="771" y="1568"/>
                    </a:cubicBezTo>
                    <a:cubicBezTo>
                      <a:pt x="717" y="1590"/>
                      <a:pt x="662" y="1604"/>
                      <a:pt x="599" y="1604"/>
                    </a:cubicBezTo>
                    <a:cubicBezTo>
                      <a:pt x="394" y="1604"/>
                      <a:pt x="225" y="1445"/>
                      <a:pt x="225" y="1235"/>
                    </a:cubicBezTo>
                    <a:cubicBezTo>
                      <a:pt x="225" y="1041"/>
                      <a:pt x="380" y="862"/>
                      <a:pt x="599" y="863"/>
                    </a:cubicBezTo>
                    <a:cubicBezTo>
                      <a:pt x="701" y="863"/>
                      <a:pt x="793" y="905"/>
                      <a:pt x="861" y="972"/>
                    </a:cubicBezTo>
                    <a:cubicBezTo>
                      <a:pt x="931" y="1040"/>
                      <a:pt x="1041" y="1183"/>
                      <a:pt x="1093" y="1239"/>
                    </a:cubicBezTo>
                    <a:cubicBezTo>
                      <a:pt x="1227" y="1383"/>
                      <a:pt x="1419" y="1473"/>
                      <a:pt x="1630" y="1473"/>
                    </a:cubicBezTo>
                    <a:cubicBezTo>
                      <a:pt x="2036" y="1474"/>
                      <a:pt x="2365" y="1146"/>
                      <a:pt x="2365" y="741"/>
                    </a:cubicBezTo>
                    <a:cubicBezTo>
                      <a:pt x="2365" y="336"/>
                      <a:pt x="2035" y="0"/>
                      <a:pt x="1630" y="0"/>
                    </a:cubicBezTo>
                    <a:cubicBezTo>
                      <a:pt x="1395" y="0"/>
                      <a:pt x="1187" y="122"/>
                      <a:pt x="1053" y="295"/>
                    </a:cubicBezTo>
                    <a:cubicBezTo>
                      <a:pt x="1053" y="735"/>
                      <a:pt x="1053" y="735"/>
                      <a:pt x="1053" y="735"/>
                    </a:cubicBezTo>
                    <a:cubicBezTo>
                      <a:pt x="1155" y="455"/>
                      <a:pt x="1340" y="232"/>
                      <a:pt x="1630" y="232"/>
                    </a:cubicBezTo>
                    <a:cubicBezTo>
                      <a:pt x="1909" y="232"/>
                      <a:pt x="2135" y="463"/>
                      <a:pt x="2134" y="741"/>
                    </a:cubicBezTo>
                    <a:cubicBezTo>
                      <a:pt x="2134" y="1020"/>
                      <a:pt x="1909" y="1246"/>
                      <a:pt x="1630" y="1245"/>
                    </a:cubicBezTo>
                    <a:cubicBezTo>
                      <a:pt x="1506" y="1244"/>
                      <a:pt x="1391" y="1199"/>
                      <a:pt x="1303" y="1125"/>
                    </a:cubicBezTo>
                    <a:cubicBezTo>
                      <a:pt x="1194" y="1040"/>
                      <a:pt x="1074" y="860"/>
                      <a:pt x="961" y="764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noProof="0" dirty="0"/>
              </a:p>
            </p:txBody>
          </p:sp>
          <p:sp>
            <p:nvSpPr>
              <p:cNvPr id="77" name="Freeform 72"/>
              <p:cNvSpPr>
                <a:spLocks/>
              </p:cNvSpPr>
              <p:nvPr userDrawn="1"/>
            </p:nvSpPr>
            <p:spPr bwMode="gray">
              <a:xfrm>
                <a:off x="7792721" y="333375"/>
                <a:ext cx="144463" cy="23495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624" y="0"/>
                  </a:cxn>
                  <a:cxn ang="0">
                    <a:pos x="1624" y="452"/>
                  </a:cxn>
                  <a:cxn ang="0">
                    <a:pos x="1365" y="273"/>
                  </a:cxn>
                  <a:cxn ang="0">
                    <a:pos x="613" y="273"/>
                  </a:cxn>
                  <a:cxn ang="0">
                    <a:pos x="613" y="1053"/>
                  </a:cxn>
                  <a:cxn ang="0">
                    <a:pos x="1428" y="1053"/>
                  </a:cxn>
                  <a:cxn ang="0">
                    <a:pos x="1428" y="1467"/>
                  </a:cxn>
                  <a:cxn ang="0">
                    <a:pos x="1205" y="1335"/>
                  </a:cxn>
                  <a:cxn ang="0">
                    <a:pos x="613" y="1335"/>
                  </a:cxn>
                  <a:cxn ang="0">
                    <a:pos x="613" y="2401"/>
                  </a:cxn>
                  <a:cxn ang="0">
                    <a:pos x="784" y="2651"/>
                  </a:cxn>
                  <a:cxn ang="0">
                    <a:pos x="11" y="2651"/>
                  </a:cxn>
                  <a:cxn ang="0">
                    <a:pos x="173" y="2401"/>
                  </a:cxn>
                  <a:cxn ang="0">
                    <a:pos x="173" y="278"/>
                  </a:cxn>
                  <a:cxn ang="0">
                    <a:pos x="0" y="0"/>
                  </a:cxn>
                </a:cxnLst>
                <a:rect l="0" t="0" r="r" b="b"/>
                <a:pathLst>
                  <a:path w="1624" h="2651">
                    <a:moveTo>
                      <a:pt x="0" y="0"/>
                    </a:moveTo>
                    <a:cubicBezTo>
                      <a:pt x="1624" y="0"/>
                      <a:pt x="1624" y="0"/>
                      <a:pt x="1624" y="0"/>
                    </a:cubicBezTo>
                    <a:cubicBezTo>
                      <a:pt x="1624" y="452"/>
                      <a:pt x="1624" y="452"/>
                      <a:pt x="1624" y="452"/>
                    </a:cubicBezTo>
                    <a:cubicBezTo>
                      <a:pt x="1624" y="452"/>
                      <a:pt x="1540" y="274"/>
                      <a:pt x="1365" y="273"/>
                    </a:cubicBezTo>
                    <a:cubicBezTo>
                      <a:pt x="613" y="273"/>
                      <a:pt x="613" y="273"/>
                      <a:pt x="613" y="273"/>
                    </a:cubicBezTo>
                    <a:cubicBezTo>
                      <a:pt x="613" y="1053"/>
                      <a:pt x="613" y="1053"/>
                      <a:pt x="613" y="1053"/>
                    </a:cubicBezTo>
                    <a:cubicBezTo>
                      <a:pt x="1428" y="1053"/>
                      <a:pt x="1428" y="1053"/>
                      <a:pt x="1428" y="1053"/>
                    </a:cubicBezTo>
                    <a:cubicBezTo>
                      <a:pt x="1428" y="1467"/>
                      <a:pt x="1428" y="1467"/>
                      <a:pt x="1428" y="1467"/>
                    </a:cubicBezTo>
                    <a:cubicBezTo>
                      <a:pt x="1428" y="1467"/>
                      <a:pt x="1402" y="1335"/>
                      <a:pt x="1205" y="1335"/>
                    </a:cubicBezTo>
                    <a:cubicBezTo>
                      <a:pt x="613" y="1335"/>
                      <a:pt x="613" y="1335"/>
                      <a:pt x="613" y="1335"/>
                    </a:cubicBezTo>
                    <a:cubicBezTo>
                      <a:pt x="613" y="2401"/>
                      <a:pt x="613" y="2401"/>
                      <a:pt x="613" y="2401"/>
                    </a:cubicBezTo>
                    <a:cubicBezTo>
                      <a:pt x="613" y="2558"/>
                      <a:pt x="784" y="2651"/>
                      <a:pt x="784" y="2651"/>
                    </a:cubicBezTo>
                    <a:cubicBezTo>
                      <a:pt x="11" y="2651"/>
                      <a:pt x="11" y="2651"/>
                      <a:pt x="11" y="2651"/>
                    </a:cubicBezTo>
                    <a:cubicBezTo>
                      <a:pt x="11" y="2651"/>
                      <a:pt x="173" y="2569"/>
                      <a:pt x="173" y="2401"/>
                    </a:cubicBezTo>
                    <a:cubicBezTo>
                      <a:pt x="173" y="278"/>
                      <a:pt x="173" y="278"/>
                      <a:pt x="173" y="278"/>
                    </a:cubicBezTo>
                    <a:cubicBezTo>
                      <a:pt x="173" y="99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noProof="0" dirty="0"/>
              </a:p>
            </p:txBody>
          </p:sp>
          <p:sp>
            <p:nvSpPr>
              <p:cNvPr id="78" name="Freeform 73"/>
              <p:cNvSpPr>
                <a:spLocks/>
              </p:cNvSpPr>
              <p:nvPr userDrawn="1"/>
            </p:nvSpPr>
            <p:spPr bwMode="gray">
              <a:xfrm>
                <a:off x="8134033" y="333375"/>
                <a:ext cx="95250" cy="328613"/>
              </a:xfrm>
              <a:custGeom>
                <a:avLst/>
                <a:gdLst/>
                <a:ahLst/>
                <a:cxnLst>
                  <a:cxn ang="0">
                    <a:pos x="246" y="0"/>
                  </a:cxn>
                  <a:cxn ang="0">
                    <a:pos x="1072" y="0"/>
                  </a:cxn>
                  <a:cxn ang="0">
                    <a:pos x="887" y="230"/>
                  </a:cxn>
                  <a:cxn ang="0">
                    <a:pos x="887" y="2717"/>
                  </a:cxn>
                  <a:cxn ang="0">
                    <a:pos x="0" y="3693"/>
                  </a:cxn>
                  <a:cxn ang="0">
                    <a:pos x="423" y="2717"/>
                  </a:cxn>
                  <a:cxn ang="0">
                    <a:pos x="423" y="230"/>
                  </a:cxn>
                  <a:cxn ang="0">
                    <a:pos x="246" y="0"/>
                  </a:cxn>
                </a:cxnLst>
                <a:rect l="0" t="0" r="r" b="b"/>
                <a:pathLst>
                  <a:path w="1072" h="3696">
                    <a:moveTo>
                      <a:pt x="246" y="0"/>
                    </a:moveTo>
                    <a:cubicBezTo>
                      <a:pt x="1072" y="0"/>
                      <a:pt x="1072" y="0"/>
                      <a:pt x="1072" y="0"/>
                    </a:cubicBezTo>
                    <a:cubicBezTo>
                      <a:pt x="1072" y="0"/>
                      <a:pt x="887" y="87"/>
                      <a:pt x="887" y="230"/>
                    </a:cubicBezTo>
                    <a:cubicBezTo>
                      <a:pt x="887" y="2717"/>
                      <a:pt x="887" y="2717"/>
                      <a:pt x="887" y="2717"/>
                    </a:cubicBezTo>
                    <a:cubicBezTo>
                      <a:pt x="887" y="3558"/>
                      <a:pt x="44" y="3696"/>
                      <a:pt x="0" y="3693"/>
                    </a:cubicBezTo>
                    <a:cubicBezTo>
                      <a:pt x="72" y="3647"/>
                      <a:pt x="422" y="3349"/>
                      <a:pt x="423" y="2717"/>
                    </a:cubicBezTo>
                    <a:cubicBezTo>
                      <a:pt x="423" y="230"/>
                      <a:pt x="423" y="230"/>
                      <a:pt x="423" y="230"/>
                    </a:cubicBezTo>
                    <a:cubicBezTo>
                      <a:pt x="424" y="96"/>
                      <a:pt x="246" y="0"/>
                      <a:pt x="246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noProof="0" dirty="0"/>
              </a:p>
            </p:txBody>
          </p:sp>
          <p:sp>
            <p:nvSpPr>
              <p:cNvPr id="79" name="Freeform 74"/>
              <p:cNvSpPr>
                <a:spLocks/>
              </p:cNvSpPr>
              <p:nvPr userDrawn="1"/>
            </p:nvSpPr>
            <p:spPr bwMode="gray">
              <a:xfrm>
                <a:off x="8238808" y="333375"/>
                <a:ext cx="74613" cy="23495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828" y="0"/>
                  </a:cxn>
                  <a:cxn ang="0">
                    <a:pos x="645" y="235"/>
                  </a:cxn>
                  <a:cxn ang="0">
                    <a:pos x="645" y="2401"/>
                  </a:cxn>
                  <a:cxn ang="0">
                    <a:pos x="828" y="2653"/>
                  </a:cxn>
                  <a:cxn ang="0">
                    <a:pos x="0" y="2653"/>
                  </a:cxn>
                  <a:cxn ang="0">
                    <a:pos x="184" y="2401"/>
                  </a:cxn>
                  <a:cxn ang="0">
                    <a:pos x="184" y="235"/>
                  </a:cxn>
                  <a:cxn ang="0">
                    <a:pos x="0" y="0"/>
                  </a:cxn>
                </a:cxnLst>
                <a:rect l="0" t="0" r="r" b="b"/>
                <a:pathLst>
                  <a:path w="828" h="2653">
                    <a:moveTo>
                      <a:pt x="0" y="0"/>
                    </a:moveTo>
                    <a:cubicBezTo>
                      <a:pt x="828" y="0"/>
                      <a:pt x="828" y="0"/>
                      <a:pt x="828" y="0"/>
                    </a:cubicBezTo>
                    <a:cubicBezTo>
                      <a:pt x="828" y="0"/>
                      <a:pt x="645" y="89"/>
                      <a:pt x="645" y="235"/>
                    </a:cubicBezTo>
                    <a:cubicBezTo>
                      <a:pt x="645" y="2401"/>
                      <a:pt x="645" y="2401"/>
                      <a:pt x="645" y="2401"/>
                    </a:cubicBezTo>
                    <a:cubicBezTo>
                      <a:pt x="645" y="2556"/>
                      <a:pt x="828" y="2653"/>
                      <a:pt x="828" y="2653"/>
                    </a:cubicBezTo>
                    <a:cubicBezTo>
                      <a:pt x="0" y="2653"/>
                      <a:pt x="0" y="2653"/>
                      <a:pt x="0" y="2653"/>
                    </a:cubicBezTo>
                    <a:cubicBezTo>
                      <a:pt x="0" y="2653"/>
                      <a:pt x="184" y="2557"/>
                      <a:pt x="184" y="2401"/>
                    </a:cubicBezTo>
                    <a:cubicBezTo>
                      <a:pt x="184" y="235"/>
                      <a:pt x="184" y="235"/>
                      <a:pt x="184" y="235"/>
                    </a:cubicBezTo>
                    <a:cubicBezTo>
                      <a:pt x="184" y="89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noProof="0" dirty="0"/>
              </a:p>
            </p:txBody>
          </p:sp>
          <p:sp>
            <p:nvSpPr>
              <p:cNvPr id="80" name="Freeform 75"/>
              <p:cNvSpPr>
                <a:spLocks/>
              </p:cNvSpPr>
              <p:nvPr userDrawn="1"/>
            </p:nvSpPr>
            <p:spPr bwMode="gray">
              <a:xfrm>
                <a:off x="8313421" y="333375"/>
                <a:ext cx="176213" cy="234950"/>
              </a:xfrm>
              <a:custGeom>
                <a:avLst/>
                <a:gdLst/>
                <a:ahLst/>
                <a:cxnLst>
                  <a:cxn ang="0">
                    <a:pos x="161" y="0"/>
                  </a:cxn>
                  <a:cxn ang="0">
                    <a:pos x="1984" y="0"/>
                  </a:cxn>
                  <a:cxn ang="0">
                    <a:pos x="1829" y="482"/>
                  </a:cxn>
                  <a:cxn ang="0">
                    <a:pos x="1607" y="279"/>
                  </a:cxn>
                  <a:cxn ang="0">
                    <a:pos x="1229" y="279"/>
                  </a:cxn>
                  <a:cxn ang="0">
                    <a:pos x="1229" y="2401"/>
                  </a:cxn>
                  <a:cxn ang="0">
                    <a:pos x="1407" y="2651"/>
                  </a:cxn>
                  <a:cxn ang="0">
                    <a:pos x="595" y="2651"/>
                  </a:cxn>
                  <a:cxn ang="0">
                    <a:pos x="771" y="2401"/>
                  </a:cxn>
                  <a:cxn ang="0">
                    <a:pos x="771" y="279"/>
                  </a:cxn>
                  <a:cxn ang="0">
                    <a:pos x="315" y="279"/>
                  </a:cxn>
                  <a:cxn ang="0">
                    <a:pos x="0" y="522"/>
                  </a:cxn>
                  <a:cxn ang="0">
                    <a:pos x="161" y="0"/>
                  </a:cxn>
                </a:cxnLst>
                <a:rect l="0" t="0" r="r" b="b"/>
                <a:pathLst>
                  <a:path w="1984" h="2651">
                    <a:moveTo>
                      <a:pt x="161" y="0"/>
                    </a:moveTo>
                    <a:cubicBezTo>
                      <a:pt x="1984" y="0"/>
                      <a:pt x="1984" y="0"/>
                      <a:pt x="1984" y="0"/>
                    </a:cubicBezTo>
                    <a:cubicBezTo>
                      <a:pt x="1829" y="482"/>
                      <a:pt x="1829" y="482"/>
                      <a:pt x="1829" y="482"/>
                    </a:cubicBezTo>
                    <a:cubicBezTo>
                      <a:pt x="1829" y="482"/>
                      <a:pt x="1783" y="279"/>
                      <a:pt x="1607" y="279"/>
                    </a:cubicBezTo>
                    <a:cubicBezTo>
                      <a:pt x="1229" y="279"/>
                      <a:pt x="1229" y="279"/>
                      <a:pt x="1229" y="279"/>
                    </a:cubicBezTo>
                    <a:cubicBezTo>
                      <a:pt x="1229" y="2401"/>
                      <a:pt x="1229" y="2401"/>
                      <a:pt x="1229" y="2401"/>
                    </a:cubicBezTo>
                    <a:cubicBezTo>
                      <a:pt x="1229" y="2535"/>
                      <a:pt x="1407" y="2651"/>
                      <a:pt x="1407" y="2651"/>
                    </a:cubicBezTo>
                    <a:cubicBezTo>
                      <a:pt x="595" y="2651"/>
                      <a:pt x="595" y="2651"/>
                      <a:pt x="595" y="2651"/>
                    </a:cubicBezTo>
                    <a:cubicBezTo>
                      <a:pt x="595" y="2651"/>
                      <a:pt x="771" y="2547"/>
                      <a:pt x="771" y="2401"/>
                    </a:cubicBezTo>
                    <a:cubicBezTo>
                      <a:pt x="771" y="279"/>
                      <a:pt x="771" y="279"/>
                      <a:pt x="771" y="279"/>
                    </a:cubicBezTo>
                    <a:cubicBezTo>
                      <a:pt x="315" y="279"/>
                      <a:pt x="315" y="279"/>
                      <a:pt x="315" y="279"/>
                    </a:cubicBezTo>
                    <a:cubicBezTo>
                      <a:pt x="185" y="280"/>
                      <a:pt x="0" y="522"/>
                      <a:pt x="0" y="522"/>
                    </a:cubicBezTo>
                    <a:lnTo>
                      <a:pt x="161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noProof="0" dirty="0"/>
              </a:p>
            </p:txBody>
          </p:sp>
          <p:sp>
            <p:nvSpPr>
              <p:cNvPr id="81" name="Freeform 76"/>
              <p:cNvSpPr>
                <a:spLocks/>
              </p:cNvSpPr>
              <p:nvPr userDrawn="1"/>
            </p:nvSpPr>
            <p:spPr bwMode="gray">
              <a:xfrm>
                <a:off x="8634096" y="333375"/>
                <a:ext cx="196850" cy="239713"/>
              </a:xfrm>
              <a:custGeom>
                <a:avLst/>
                <a:gdLst/>
                <a:ahLst/>
                <a:cxnLst>
                  <a:cxn ang="0">
                    <a:pos x="1420" y="0"/>
                  </a:cxn>
                  <a:cxn ang="0">
                    <a:pos x="2219" y="0"/>
                  </a:cxn>
                  <a:cxn ang="0">
                    <a:pos x="2048" y="234"/>
                  </a:cxn>
                  <a:cxn ang="0">
                    <a:pos x="2048" y="1840"/>
                  </a:cxn>
                  <a:cxn ang="0">
                    <a:pos x="1131" y="2693"/>
                  </a:cxn>
                  <a:cxn ang="0">
                    <a:pos x="176" y="1840"/>
                  </a:cxn>
                  <a:cxn ang="0">
                    <a:pos x="176" y="234"/>
                  </a:cxn>
                  <a:cxn ang="0">
                    <a:pos x="0" y="0"/>
                  </a:cxn>
                  <a:cxn ang="0">
                    <a:pos x="821" y="0"/>
                  </a:cxn>
                  <a:cxn ang="0">
                    <a:pos x="638" y="234"/>
                  </a:cxn>
                  <a:cxn ang="0">
                    <a:pos x="638" y="1840"/>
                  </a:cxn>
                  <a:cxn ang="0">
                    <a:pos x="1131" y="2406"/>
                  </a:cxn>
                  <a:cxn ang="0">
                    <a:pos x="1601" y="1840"/>
                  </a:cxn>
                  <a:cxn ang="0">
                    <a:pos x="1601" y="234"/>
                  </a:cxn>
                  <a:cxn ang="0">
                    <a:pos x="1420" y="0"/>
                  </a:cxn>
                </a:cxnLst>
                <a:rect l="0" t="0" r="r" b="b"/>
                <a:pathLst>
                  <a:path w="2219" h="2693">
                    <a:moveTo>
                      <a:pt x="1420" y="0"/>
                    </a:moveTo>
                    <a:cubicBezTo>
                      <a:pt x="2219" y="0"/>
                      <a:pt x="2219" y="0"/>
                      <a:pt x="2219" y="0"/>
                    </a:cubicBezTo>
                    <a:cubicBezTo>
                      <a:pt x="2219" y="0"/>
                      <a:pt x="2048" y="91"/>
                      <a:pt x="2048" y="234"/>
                    </a:cubicBezTo>
                    <a:cubicBezTo>
                      <a:pt x="2048" y="1840"/>
                      <a:pt x="2048" y="1840"/>
                      <a:pt x="2048" y="1840"/>
                    </a:cubicBezTo>
                    <a:cubicBezTo>
                      <a:pt x="2047" y="2492"/>
                      <a:pt x="1506" y="2693"/>
                      <a:pt x="1131" y="2693"/>
                    </a:cubicBezTo>
                    <a:cubicBezTo>
                      <a:pt x="759" y="2693"/>
                      <a:pt x="175" y="2490"/>
                      <a:pt x="176" y="1840"/>
                    </a:cubicBezTo>
                    <a:cubicBezTo>
                      <a:pt x="176" y="234"/>
                      <a:pt x="176" y="234"/>
                      <a:pt x="176" y="234"/>
                    </a:cubicBezTo>
                    <a:cubicBezTo>
                      <a:pt x="176" y="91"/>
                      <a:pt x="0" y="0"/>
                      <a:pt x="0" y="0"/>
                    </a:cubicBezTo>
                    <a:cubicBezTo>
                      <a:pt x="821" y="0"/>
                      <a:pt x="821" y="0"/>
                      <a:pt x="821" y="0"/>
                    </a:cubicBezTo>
                    <a:cubicBezTo>
                      <a:pt x="821" y="0"/>
                      <a:pt x="638" y="88"/>
                      <a:pt x="638" y="234"/>
                    </a:cubicBezTo>
                    <a:cubicBezTo>
                      <a:pt x="638" y="1840"/>
                      <a:pt x="638" y="1840"/>
                      <a:pt x="638" y="1840"/>
                    </a:cubicBezTo>
                    <a:cubicBezTo>
                      <a:pt x="638" y="2182"/>
                      <a:pt x="865" y="2406"/>
                      <a:pt x="1131" y="2406"/>
                    </a:cubicBezTo>
                    <a:cubicBezTo>
                      <a:pt x="1397" y="2406"/>
                      <a:pt x="1600" y="2173"/>
                      <a:pt x="1601" y="1840"/>
                    </a:cubicBezTo>
                    <a:cubicBezTo>
                      <a:pt x="1601" y="234"/>
                      <a:pt x="1601" y="234"/>
                      <a:pt x="1601" y="234"/>
                    </a:cubicBezTo>
                    <a:cubicBezTo>
                      <a:pt x="1601" y="91"/>
                      <a:pt x="1420" y="0"/>
                      <a:pt x="142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noProof="0" dirty="0"/>
              </a:p>
            </p:txBody>
          </p:sp>
          <p:sp>
            <p:nvSpPr>
              <p:cNvPr id="82" name="Freeform 77"/>
              <p:cNvSpPr>
                <a:spLocks/>
              </p:cNvSpPr>
              <p:nvPr userDrawn="1"/>
            </p:nvSpPr>
            <p:spPr bwMode="gray">
              <a:xfrm>
                <a:off x="7943533" y="333375"/>
                <a:ext cx="198438" cy="239713"/>
              </a:xfrm>
              <a:custGeom>
                <a:avLst/>
                <a:gdLst/>
                <a:ahLst/>
                <a:cxnLst>
                  <a:cxn ang="0">
                    <a:pos x="1427" y="0"/>
                  </a:cxn>
                  <a:cxn ang="0">
                    <a:pos x="2240" y="0"/>
                  </a:cxn>
                  <a:cxn ang="0">
                    <a:pos x="2068" y="237"/>
                  </a:cxn>
                  <a:cxn ang="0">
                    <a:pos x="2067" y="1838"/>
                  </a:cxn>
                  <a:cxn ang="0">
                    <a:pos x="1122" y="2700"/>
                  </a:cxn>
                  <a:cxn ang="0">
                    <a:pos x="166" y="1838"/>
                  </a:cxn>
                  <a:cxn ang="0">
                    <a:pos x="166" y="237"/>
                  </a:cxn>
                  <a:cxn ang="0">
                    <a:pos x="0" y="0"/>
                  </a:cxn>
                  <a:cxn ang="0">
                    <a:pos x="821" y="0"/>
                  </a:cxn>
                  <a:cxn ang="0">
                    <a:pos x="631" y="237"/>
                  </a:cxn>
                  <a:cxn ang="0">
                    <a:pos x="630" y="1838"/>
                  </a:cxn>
                  <a:cxn ang="0">
                    <a:pos x="1122" y="2413"/>
                  </a:cxn>
                  <a:cxn ang="0">
                    <a:pos x="1602" y="1838"/>
                  </a:cxn>
                  <a:cxn ang="0">
                    <a:pos x="1603" y="237"/>
                  </a:cxn>
                  <a:cxn ang="0">
                    <a:pos x="1427" y="0"/>
                  </a:cxn>
                </a:cxnLst>
                <a:rect l="0" t="0" r="r" b="b"/>
                <a:pathLst>
                  <a:path w="2240" h="2700">
                    <a:moveTo>
                      <a:pt x="1427" y="0"/>
                    </a:moveTo>
                    <a:cubicBezTo>
                      <a:pt x="2240" y="0"/>
                      <a:pt x="2240" y="0"/>
                      <a:pt x="2240" y="0"/>
                    </a:cubicBezTo>
                    <a:cubicBezTo>
                      <a:pt x="2240" y="0"/>
                      <a:pt x="2068" y="95"/>
                      <a:pt x="2068" y="237"/>
                    </a:cubicBezTo>
                    <a:cubicBezTo>
                      <a:pt x="2068" y="238"/>
                      <a:pt x="2067" y="1838"/>
                      <a:pt x="2067" y="1838"/>
                    </a:cubicBezTo>
                    <a:cubicBezTo>
                      <a:pt x="2067" y="2494"/>
                      <a:pt x="1501" y="2700"/>
                      <a:pt x="1122" y="2700"/>
                    </a:cubicBezTo>
                    <a:cubicBezTo>
                      <a:pt x="750" y="2700"/>
                      <a:pt x="166" y="2491"/>
                      <a:pt x="166" y="1838"/>
                    </a:cubicBezTo>
                    <a:cubicBezTo>
                      <a:pt x="166" y="237"/>
                      <a:pt x="166" y="237"/>
                      <a:pt x="166" y="237"/>
                    </a:cubicBezTo>
                    <a:cubicBezTo>
                      <a:pt x="166" y="94"/>
                      <a:pt x="0" y="0"/>
                      <a:pt x="0" y="0"/>
                    </a:cubicBezTo>
                    <a:cubicBezTo>
                      <a:pt x="821" y="0"/>
                      <a:pt x="821" y="0"/>
                      <a:pt x="821" y="0"/>
                    </a:cubicBezTo>
                    <a:cubicBezTo>
                      <a:pt x="821" y="0"/>
                      <a:pt x="631" y="94"/>
                      <a:pt x="631" y="237"/>
                    </a:cubicBezTo>
                    <a:cubicBezTo>
                      <a:pt x="630" y="1838"/>
                      <a:pt x="630" y="1838"/>
                      <a:pt x="630" y="1838"/>
                    </a:cubicBezTo>
                    <a:cubicBezTo>
                      <a:pt x="630" y="2178"/>
                      <a:pt x="856" y="2412"/>
                      <a:pt x="1122" y="2413"/>
                    </a:cubicBezTo>
                    <a:cubicBezTo>
                      <a:pt x="1388" y="2414"/>
                      <a:pt x="1602" y="2174"/>
                      <a:pt x="1602" y="1838"/>
                    </a:cubicBezTo>
                    <a:cubicBezTo>
                      <a:pt x="1603" y="237"/>
                      <a:pt x="1603" y="237"/>
                      <a:pt x="1603" y="237"/>
                    </a:cubicBezTo>
                    <a:cubicBezTo>
                      <a:pt x="1603" y="94"/>
                      <a:pt x="1427" y="0"/>
                      <a:pt x="1427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noProof="0" dirty="0"/>
              </a:p>
            </p:txBody>
          </p:sp>
          <p:sp>
            <p:nvSpPr>
              <p:cNvPr id="83" name="Freeform 78"/>
              <p:cNvSpPr>
                <a:spLocks/>
              </p:cNvSpPr>
              <p:nvPr userDrawn="1"/>
            </p:nvSpPr>
            <p:spPr bwMode="gray">
              <a:xfrm>
                <a:off x="8481696" y="328613"/>
                <a:ext cx="150813" cy="244475"/>
              </a:xfrm>
              <a:custGeom>
                <a:avLst/>
                <a:gdLst/>
                <a:ahLst/>
                <a:cxnLst>
                  <a:cxn ang="0">
                    <a:pos x="1467" y="479"/>
                  </a:cxn>
                  <a:cxn ang="0">
                    <a:pos x="1019" y="276"/>
                  </a:cxn>
                  <a:cxn ang="0">
                    <a:pos x="504" y="677"/>
                  </a:cxn>
                  <a:cxn ang="0">
                    <a:pos x="995" y="1174"/>
                  </a:cxn>
                  <a:cxn ang="0">
                    <a:pos x="1705" y="1974"/>
                  </a:cxn>
                  <a:cxn ang="0">
                    <a:pos x="651" y="2755"/>
                  </a:cxn>
                  <a:cxn ang="0">
                    <a:pos x="155" y="2686"/>
                  </a:cxn>
                  <a:cxn ang="0">
                    <a:pos x="0" y="2177"/>
                  </a:cxn>
                  <a:cxn ang="0">
                    <a:pos x="658" y="2466"/>
                  </a:cxn>
                  <a:cxn ang="0">
                    <a:pos x="1252" y="2030"/>
                  </a:cxn>
                  <a:cxn ang="0">
                    <a:pos x="46" y="731"/>
                  </a:cxn>
                  <a:cxn ang="0">
                    <a:pos x="973" y="0"/>
                  </a:cxn>
                  <a:cxn ang="0">
                    <a:pos x="1467" y="69"/>
                  </a:cxn>
                  <a:cxn ang="0">
                    <a:pos x="1467" y="479"/>
                  </a:cxn>
                </a:cxnLst>
                <a:rect l="0" t="0" r="r" b="b"/>
                <a:pathLst>
                  <a:path w="1707" h="2755">
                    <a:moveTo>
                      <a:pt x="1467" y="479"/>
                    </a:moveTo>
                    <a:cubicBezTo>
                      <a:pt x="1467" y="479"/>
                      <a:pt x="1352" y="277"/>
                      <a:pt x="1019" y="276"/>
                    </a:cubicBezTo>
                    <a:cubicBezTo>
                      <a:pt x="686" y="275"/>
                      <a:pt x="505" y="450"/>
                      <a:pt x="504" y="677"/>
                    </a:cubicBezTo>
                    <a:cubicBezTo>
                      <a:pt x="503" y="934"/>
                      <a:pt x="696" y="1031"/>
                      <a:pt x="995" y="1174"/>
                    </a:cubicBezTo>
                    <a:cubicBezTo>
                      <a:pt x="1279" y="1311"/>
                      <a:pt x="1707" y="1499"/>
                      <a:pt x="1705" y="1974"/>
                    </a:cubicBezTo>
                    <a:cubicBezTo>
                      <a:pt x="1704" y="2399"/>
                      <a:pt x="1327" y="2755"/>
                      <a:pt x="651" y="2755"/>
                    </a:cubicBezTo>
                    <a:cubicBezTo>
                      <a:pt x="442" y="2754"/>
                      <a:pt x="155" y="2686"/>
                      <a:pt x="155" y="2686"/>
                    </a:cubicBezTo>
                    <a:cubicBezTo>
                      <a:pt x="0" y="2177"/>
                      <a:pt x="0" y="2177"/>
                      <a:pt x="0" y="2177"/>
                    </a:cubicBezTo>
                    <a:cubicBezTo>
                      <a:pt x="143" y="2316"/>
                      <a:pt x="397" y="2466"/>
                      <a:pt x="658" y="2466"/>
                    </a:cubicBezTo>
                    <a:cubicBezTo>
                      <a:pt x="929" y="2466"/>
                      <a:pt x="1252" y="2298"/>
                      <a:pt x="1252" y="2030"/>
                    </a:cubicBezTo>
                    <a:cubicBezTo>
                      <a:pt x="1252" y="1512"/>
                      <a:pt x="46" y="1598"/>
                      <a:pt x="46" y="731"/>
                    </a:cubicBezTo>
                    <a:cubicBezTo>
                      <a:pt x="46" y="433"/>
                      <a:pt x="254" y="0"/>
                      <a:pt x="973" y="0"/>
                    </a:cubicBezTo>
                    <a:cubicBezTo>
                      <a:pt x="1207" y="0"/>
                      <a:pt x="1467" y="69"/>
                      <a:pt x="1467" y="69"/>
                    </a:cubicBezTo>
                    <a:lnTo>
                      <a:pt x="1467" y="47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noProof="0" dirty="0"/>
              </a:p>
            </p:txBody>
          </p:sp>
        </p:grpSp>
      </p:grpSp>
      <p:sp>
        <p:nvSpPr>
          <p:cNvPr id="7" name="VCT_Marker_ID_7" hidden="1"/>
          <p:cNvSpPr/>
          <p:nvPr>
            <p:custDataLst>
              <p:tags r:id="rId1"/>
            </p:custDataLst>
          </p:nvPr>
        </p:nvSpPr>
        <p:spPr>
          <a:xfrm>
            <a:off x="1270000" y="95250"/>
            <a:ext cx="127000" cy="95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44" name="VCT_Backup_ID_44" hidden="1"/>
          <p:cNvSpPr txBox="1"/>
          <p:nvPr>
            <p:custDataLst>
              <p:tags r:id="rId2"/>
            </p:custDataLst>
          </p:nvPr>
        </p:nvSpPr>
        <p:spPr bwMode="auto">
          <a:xfrm>
            <a:off x="324002" y="1304100"/>
            <a:ext cx="8496149" cy="1102519"/>
          </a:xfrm>
          <a:prstGeom prst="rect">
            <a:avLst/>
          </a:prstGeom>
          <a:noFill/>
          <a:ln w="0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3676650" algn="l"/>
              </a:tabLst>
              <a:defRPr/>
            </a:pPr>
            <a:r>
              <a:rPr lang="en-GB" sz="4400" b="0" i="0" u="none" baseline="0" dirty="0" smtClean="0">
                <a:solidFill>
                  <a:srgbClr val="FFFFFF"/>
                </a:solidFill>
                <a:latin typeface="Arial"/>
              </a:rPr>
              <a:t>Titelmasterformat </a:t>
            </a:r>
            <a:r>
              <a:rPr lang="en-GB" sz="4400" b="0" i="0" u="none" baseline="0" dirty="0" err="1" smtClean="0">
                <a:solidFill>
                  <a:srgbClr val="FFFFFF"/>
                </a:solidFill>
                <a:latin typeface="Arial"/>
              </a:rPr>
              <a:t>durch</a:t>
            </a:r>
            <a:r>
              <a:rPr lang="en-GB" sz="4400" b="0" i="0" u="none" baseline="0" dirty="0" smtClean="0">
                <a:solidFill>
                  <a:srgbClr val="FFFFFF"/>
                </a:solidFill>
                <a:latin typeface="Arial"/>
              </a:rPr>
              <a:t> </a:t>
            </a:r>
            <a:r>
              <a:rPr lang="en-GB" sz="4400" b="0" i="0" u="none" baseline="0" dirty="0" err="1" smtClean="0">
                <a:solidFill>
                  <a:srgbClr val="FFFFFF"/>
                </a:solidFill>
                <a:latin typeface="Arial"/>
              </a:rPr>
              <a:t>Klicken</a:t>
            </a:r>
            <a:r>
              <a:rPr lang="en-GB" sz="4400" b="0" i="0" u="none" baseline="0" dirty="0" smtClean="0">
                <a:solidFill>
                  <a:srgbClr val="FFFFFF"/>
                </a:solidFill>
                <a:latin typeface="Arial"/>
              </a:rPr>
              <a:t> </a:t>
            </a:r>
            <a:r>
              <a:rPr lang="en-GB" sz="4400" b="0" i="0" u="none" baseline="0" dirty="0" err="1" smtClean="0">
                <a:solidFill>
                  <a:srgbClr val="FFFFFF"/>
                </a:solidFill>
                <a:latin typeface="Arial"/>
              </a:rPr>
              <a:t>bearbeiten</a:t>
            </a:r>
            <a:endParaRPr lang="en-GB" sz="4400" b="0" i="0" u="none" baseline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5" name="VCT_Backup_ID_45" hidden="1"/>
          <p:cNvSpPr txBox="1"/>
          <p:nvPr>
            <p:custDataLst>
              <p:tags r:id="rId3"/>
            </p:custDataLst>
          </p:nvPr>
        </p:nvSpPr>
        <p:spPr bwMode="auto">
          <a:xfrm>
            <a:off x="323999" y="3434400"/>
            <a:ext cx="8496151" cy="1339199"/>
          </a:xfrm>
          <a:prstGeom prst="rect">
            <a:avLst/>
          </a:prstGeom>
          <a:noFill/>
          <a:ln w="0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marL="0" lvl="0" indent="0"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de-DE" sz="2400" b="0" i="0" u="none" baseline="0" smtClean="0">
                <a:solidFill>
                  <a:srgbClr val="000000"/>
                </a:solidFill>
                <a:latin typeface="Arial"/>
              </a:rPr>
              <a:t>Formatvorlage des Untertitelmasters durch Klicken bearbeiten</a:t>
            </a:r>
            <a:endParaRPr lang="en-GB" sz="2400" b="0" i="0" u="none" baseline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Rechteck 40"/>
          <p:cNvSpPr/>
          <p:nvPr/>
        </p:nvSpPr>
        <p:spPr bwMode="gray">
          <a:xfrm>
            <a:off x="4427984" y="4991100"/>
            <a:ext cx="360040" cy="1524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noProof="0" smtClean="0">
              <a:solidFill>
                <a:schemeClr val="tx1"/>
              </a:solidFill>
            </a:endParaRPr>
          </a:p>
        </p:txBody>
      </p:sp>
      <p:sp>
        <p:nvSpPr>
          <p:cNvPr id="48" name="Title 47"/>
          <p:cNvSpPr>
            <a:spLocks noGrp="1"/>
          </p:cNvSpPr>
          <p:nvPr>
            <p:ph type="title"/>
          </p:nvPr>
        </p:nvSpPr>
        <p:spPr bwMode="gray">
          <a:xfrm>
            <a:off x="250825" y="2427730"/>
            <a:ext cx="8642356" cy="64809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tabLst>
                <a:tab pos="3676650" algn="l"/>
              </a:tabLst>
              <a:defRPr kumimoji="1" lang="en-US" altLang="ja-JP" sz="3200" kern="1200" noProof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 dirty="0"/>
          </a:p>
        </p:txBody>
      </p:sp>
      <p:sp>
        <p:nvSpPr>
          <p:cNvPr id="59" name="Subtitle 2"/>
          <p:cNvSpPr>
            <a:spLocks noGrp="1"/>
          </p:cNvSpPr>
          <p:nvPr>
            <p:ph type="subTitle" idx="1"/>
          </p:nvPr>
        </p:nvSpPr>
        <p:spPr bwMode="gray">
          <a:xfrm>
            <a:off x="250250" y="2067681"/>
            <a:ext cx="8642926" cy="432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marL="0" indent="0" algn="l" defTabSz="457200" rtl="0" eaLnBrk="1" fontAlgn="base" latinLnBrk="0" hangingPunct="1">
              <a:lnSpc>
                <a:spcPct val="110000"/>
              </a:lnSpc>
              <a:spcBef>
                <a:spcPts val="500"/>
              </a:spcBef>
              <a:spcAft>
                <a:spcPts val="200"/>
              </a:spcAft>
              <a:buClr>
                <a:srgbClr val="A30B1A"/>
              </a:buClr>
              <a:buFont typeface="Wingdings" pitchFamily="2" charset="2"/>
              <a:buNone/>
              <a:defRPr kumimoji="1" lang="en-US" altLang="ja-JP" sz="20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smtClean="0"/>
              <a:t>Formatvorlage des Untertitelmasters durch Klicken bearbeiten</a:t>
            </a:r>
            <a:endParaRPr lang="en-GB" noProof="0" dirty="0"/>
          </a:p>
        </p:txBody>
      </p:sp>
      <p:sp>
        <p:nvSpPr>
          <p:cNvPr id="47" name="Rectangle 46"/>
          <p:cNvSpPr/>
          <p:nvPr/>
        </p:nvSpPr>
        <p:spPr>
          <a:xfrm>
            <a:off x="0" y="4813200"/>
            <a:ext cx="9144000" cy="14402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de-DE" dirty="0" smtClean="0">
              <a:solidFill>
                <a:schemeClr val="tx1"/>
              </a:solidFill>
            </a:endParaRPr>
          </a:p>
        </p:txBody>
      </p:sp>
      <p:pic>
        <p:nvPicPr>
          <p:cNvPr id="46" name="Picture 79" descr="TitleRed_24_L150"/>
          <p:cNvPicPr>
            <a:picLocks noChangeAspect="1" noChangeArrowheads="1"/>
          </p:cNvPicPr>
          <p:nvPr userDrawn="1"/>
        </p:nvPicPr>
        <p:blipFill>
          <a:blip r:embed="rId8" cstate="print"/>
          <a:srcRect/>
          <a:stretch>
            <a:fillRect/>
          </a:stretch>
        </p:blipFill>
        <p:spPr bwMode="gray">
          <a:xfrm>
            <a:off x="0" y="0"/>
            <a:ext cx="9144000" cy="3730625"/>
          </a:xfrm>
          <a:prstGeom prst="rect">
            <a:avLst/>
          </a:prstGeom>
          <a:noFill/>
        </p:spPr>
      </p:pic>
      <p:grpSp>
        <p:nvGrpSpPr>
          <p:cNvPr id="49" name="Group 49"/>
          <p:cNvGrpSpPr>
            <a:grpSpLocks noChangeAspect="1"/>
          </p:cNvGrpSpPr>
          <p:nvPr userDrawn="1"/>
        </p:nvGrpSpPr>
        <p:grpSpPr bwMode="gray">
          <a:xfrm>
            <a:off x="7606538" y="114300"/>
            <a:ext cx="1418400" cy="792555"/>
            <a:chOff x="7324408" y="0"/>
            <a:chExt cx="1647825" cy="920750"/>
          </a:xfrm>
        </p:grpSpPr>
        <p:sp>
          <p:nvSpPr>
            <p:cNvPr id="85" name="AutoShape 48"/>
            <p:cNvSpPr>
              <a:spLocks noChangeAspect="1" noChangeArrowheads="1" noTextEdit="1"/>
            </p:cNvSpPr>
            <p:nvPr userDrawn="1"/>
          </p:nvSpPr>
          <p:spPr bwMode="gray">
            <a:xfrm>
              <a:off x="7324408" y="0"/>
              <a:ext cx="1647825" cy="9207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86" name="Freeform 49"/>
            <p:cNvSpPr>
              <a:spLocks/>
            </p:cNvSpPr>
            <p:nvPr userDrawn="1"/>
          </p:nvSpPr>
          <p:spPr bwMode="gray">
            <a:xfrm>
              <a:off x="7405371" y="773113"/>
              <a:ext cx="41275" cy="68263"/>
            </a:xfrm>
            <a:custGeom>
              <a:avLst/>
              <a:gdLst/>
              <a:ahLst/>
              <a:cxnLst>
                <a:cxn ang="0">
                  <a:pos x="0" y="731"/>
                </a:cxn>
                <a:cxn ang="0">
                  <a:pos x="0" y="643"/>
                </a:cxn>
                <a:cxn ang="0">
                  <a:pos x="177" y="684"/>
                </a:cxn>
                <a:cxn ang="0">
                  <a:pos x="355" y="568"/>
                </a:cxn>
                <a:cxn ang="0">
                  <a:pos x="325" y="493"/>
                </a:cxn>
                <a:cxn ang="0">
                  <a:pos x="271" y="452"/>
                </a:cxn>
                <a:cxn ang="0">
                  <a:pos x="203" y="417"/>
                </a:cxn>
                <a:cxn ang="0">
                  <a:pos x="62" y="323"/>
                </a:cxn>
                <a:cxn ang="0">
                  <a:pos x="12" y="190"/>
                </a:cxn>
                <a:cxn ang="0">
                  <a:pos x="90" y="41"/>
                </a:cxn>
                <a:cxn ang="0">
                  <a:pos x="257" y="0"/>
                </a:cxn>
                <a:cxn ang="0">
                  <a:pos x="411" y="24"/>
                </a:cxn>
                <a:cxn ang="0">
                  <a:pos x="411" y="106"/>
                </a:cxn>
                <a:cxn ang="0">
                  <a:pos x="262" y="74"/>
                </a:cxn>
                <a:cxn ang="0">
                  <a:pos x="162" y="98"/>
                </a:cxn>
                <a:cxn ang="0">
                  <a:pos x="120" y="178"/>
                </a:cxn>
                <a:cxn ang="0">
                  <a:pos x="149" y="253"/>
                </a:cxn>
                <a:cxn ang="0">
                  <a:pos x="273" y="331"/>
                </a:cxn>
                <a:cxn ang="0">
                  <a:pos x="374" y="388"/>
                </a:cxn>
                <a:cxn ang="0">
                  <a:pos x="444" y="465"/>
                </a:cxn>
                <a:cxn ang="0">
                  <a:pos x="463" y="556"/>
                </a:cxn>
                <a:cxn ang="0">
                  <a:pos x="184" y="762"/>
                </a:cxn>
                <a:cxn ang="0">
                  <a:pos x="0" y="731"/>
                </a:cxn>
              </a:cxnLst>
              <a:rect l="0" t="0" r="r" b="b"/>
              <a:pathLst>
                <a:path w="463" h="762">
                  <a:moveTo>
                    <a:pt x="0" y="731"/>
                  </a:moveTo>
                  <a:cubicBezTo>
                    <a:pt x="0" y="643"/>
                    <a:pt x="0" y="643"/>
                    <a:pt x="0" y="643"/>
                  </a:cubicBezTo>
                  <a:cubicBezTo>
                    <a:pt x="48" y="670"/>
                    <a:pt x="107" y="684"/>
                    <a:pt x="177" y="684"/>
                  </a:cubicBezTo>
                  <a:cubicBezTo>
                    <a:pt x="296" y="684"/>
                    <a:pt x="355" y="645"/>
                    <a:pt x="355" y="568"/>
                  </a:cubicBezTo>
                  <a:cubicBezTo>
                    <a:pt x="355" y="538"/>
                    <a:pt x="345" y="513"/>
                    <a:pt x="325" y="493"/>
                  </a:cubicBezTo>
                  <a:cubicBezTo>
                    <a:pt x="309" y="477"/>
                    <a:pt x="291" y="463"/>
                    <a:pt x="271" y="452"/>
                  </a:cubicBezTo>
                  <a:cubicBezTo>
                    <a:pt x="253" y="442"/>
                    <a:pt x="231" y="431"/>
                    <a:pt x="203" y="417"/>
                  </a:cubicBezTo>
                  <a:cubicBezTo>
                    <a:pt x="135" y="384"/>
                    <a:pt x="89" y="352"/>
                    <a:pt x="62" y="323"/>
                  </a:cubicBezTo>
                  <a:cubicBezTo>
                    <a:pt x="29" y="286"/>
                    <a:pt x="12" y="242"/>
                    <a:pt x="12" y="190"/>
                  </a:cubicBezTo>
                  <a:cubicBezTo>
                    <a:pt x="12" y="124"/>
                    <a:pt x="38" y="74"/>
                    <a:pt x="90" y="41"/>
                  </a:cubicBezTo>
                  <a:cubicBezTo>
                    <a:pt x="134" y="13"/>
                    <a:pt x="189" y="0"/>
                    <a:pt x="257" y="0"/>
                  </a:cubicBezTo>
                  <a:cubicBezTo>
                    <a:pt x="304" y="0"/>
                    <a:pt x="355" y="8"/>
                    <a:pt x="411" y="24"/>
                  </a:cubicBezTo>
                  <a:cubicBezTo>
                    <a:pt x="411" y="106"/>
                    <a:pt x="411" y="106"/>
                    <a:pt x="411" y="106"/>
                  </a:cubicBezTo>
                  <a:cubicBezTo>
                    <a:pt x="364" y="85"/>
                    <a:pt x="314" y="74"/>
                    <a:pt x="262" y="74"/>
                  </a:cubicBezTo>
                  <a:cubicBezTo>
                    <a:pt x="222" y="74"/>
                    <a:pt x="188" y="82"/>
                    <a:pt x="162" y="98"/>
                  </a:cubicBezTo>
                  <a:cubicBezTo>
                    <a:pt x="134" y="115"/>
                    <a:pt x="120" y="141"/>
                    <a:pt x="120" y="178"/>
                  </a:cubicBezTo>
                  <a:cubicBezTo>
                    <a:pt x="120" y="209"/>
                    <a:pt x="130" y="234"/>
                    <a:pt x="149" y="253"/>
                  </a:cubicBezTo>
                  <a:cubicBezTo>
                    <a:pt x="168" y="273"/>
                    <a:pt x="209" y="298"/>
                    <a:pt x="273" y="331"/>
                  </a:cubicBezTo>
                  <a:cubicBezTo>
                    <a:pt x="324" y="356"/>
                    <a:pt x="357" y="375"/>
                    <a:pt x="374" y="388"/>
                  </a:cubicBezTo>
                  <a:cubicBezTo>
                    <a:pt x="407" y="412"/>
                    <a:pt x="430" y="437"/>
                    <a:pt x="444" y="465"/>
                  </a:cubicBezTo>
                  <a:cubicBezTo>
                    <a:pt x="457" y="490"/>
                    <a:pt x="463" y="520"/>
                    <a:pt x="463" y="556"/>
                  </a:cubicBezTo>
                  <a:cubicBezTo>
                    <a:pt x="463" y="693"/>
                    <a:pt x="370" y="762"/>
                    <a:pt x="184" y="762"/>
                  </a:cubicBezTo>
                  <a:cubicBezTo>
                    <a:pt x="109" y="762"/>
                    <a:pt x="48" y="752"/>
                    <a:pt x="0" y="73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87" name="Freeform 50"/>
            <p:cNvSpPr>
              <a:spLocks/>
            </p:cNvSpPr>
            <p:nvPr userDrawn="1"/>
          </p:nvSpPr>
          <p:spPr bwMode="gray">
            <a:xfrm>
              <a:off x="7462521" y="742950"/>
              <a:ext cx="47625" cy="96838"/>
            </a:xfrm>
            <a:custGeom>
              <a:avLst/>
              <a:gdLst/>
              <a:ahLst/>
              <a:cxnLst>
                <a:cxn ang="0">
                  <a:pos x="0" y="1087"/>
                </a:cxn>
                <a:cxn ang="0">
                  <a:pos x="0" y="0"/>
                </a:cxn>
                <a:cxn ang="0">
                  <a:pos x="124" y="0"/>
                </a:cxn>
                <a:cxn ang="0">
                  <a:pos x="124" y="382"/>
                </a:cxn>
                <a:cxn ang="0">
                  <a:pos x="306" y="345"/>
                </a:cxn>
                <a:cxn ang="0">
                  <a:pos x="526" y="458"/>
                </a:cxn>
                <a:cxn ang="0">
                  <a:pos x="548" y="644"/>
                </a:cxn>
                <a:cxn ang="0">
                  <a:pos x="548" y="1087"/>
                </a:cxn>
                <a:cxn ang="0">
                  <a:pos x="425" y="1087"/>
                </a:cxn>
                <a:cxn ang="0">
                  <a:pos x="425" y="624"/>
                </a:cxn>
                <a:cxn ang="0">
                  <a:pos x="403" y="477"/>
                </a:cxn>
                <a:cxn ang="0">
                  <a:pos x="294" y="419"/>
                </a:cxn>
                <a:cxn ang="0">
                  <a:pos x="124" y="463"/>
                </a:cxn>
                <a:cxn ang="0">
                  <a:pos x="124" y="1087"/>
                </a:cxn>
                <a:cxn ang="0">
                  <a:pos x="0" y="1087"/>
                </a:cxn>
              </a:cxnLst>
              <a:rect l="0" t="0" r="r" b="b"/>
              <a:pathLst>
                <a:path w="548" h="1087">
                  <a:moveTo>
                    <a:pt x="0" y="108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24" y="382"/>
                    <a:pt x="124" y="382"/>
                    <a:pt x="124" y="382"/>
                  </a:cubicBezTo>
                  <a:cubicBezTo>
                    <a:pt x="188" y="357"/>
                    <a:pt x="249" y="345"/>
                    <a:pt x="306" y="345"/>
                  </a:cubicBezTo>
                  <a:cubicBezTo>
                    <a:pt x="420" y="345"/>
                    <a:pt x="493" y="382"/>
                    <a:pt x="526" y="458"/>
                  </a:cubicBezTo>
                  <a:cubicBezTo>
                    <a:pt x="541" y="492"/>
                    <a:pt x="548" y="554"/>
                    <a:pt x="548" y="644"/>
                  </a:cubicBezTo>
                  <a:cubicBezTo>
                    <a:pt x="548" y="1087"/>
                    <a:pt x="548" y="1087"/>
                    <a:pt x="548" y="1087"/>
                  </a:cubicBezTo>
                  <a:cubicBezTo>
                    <a:pt x="425" y="1087"/>
                    <a:pt x="425" y="1087"/>
                    <a:pt x="425" y="1087"/>
                  </a:cubicBezTo>
                  <a:cubicBezTo>
                    <a:pt x="425" y="624"/>
                    <a:pt x="425" y="624"/>
                    <a:pt x="425" y="624"/>
                  </a:cubicBezTo>
                  <a:cubicBezTo>
                    <a:pt x="425" y="555"/>
                    <a:pt x="418" y="506"/>
                    <a:pt x="403" y="477"/>
                  </a:cubicBezTo>
                  <a:cubicBezTo>
                    <a:pt x="384" y="439"/>
                    <a:pt x="347" y="419"/>
                    <a:pt x="294" y="419"/>
                  </a:cubicBezTo>
                  <a:cubicBezTo>
                    <a:pt x="245" y="419"/>
                    <a:pt x="189" y="434"/>
                    <a:pt x="124" y="463"/>
                  </a:cubicBezTo>
                  <a:cubicBezTo>
                    <a:pt x="124" y="1087"/>
                    <a:pt x="124" y="1087"/>
                    <a:pt x="124" y="1087"/>
                  </a:cubicBezTo>
                  <a:lnTo>
                    <a:pt x="0" y="10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88" name="Freeform 51"/>
            <p:cNvSpPr>
              <a:spLocks noEditPoints="1"/>
            </p:cNvSpPr>
            <p:nvPr userDrawn="1"/>
          </p:nvSpPr>
          <p:spPr bwMode="gray">
            <a:xfrm>
              <a:off x="7524433" y="773113"/>
              <a:ext cx="50800" cy="68263"/>
            </a:xfrm>
            <a:custGeom>
              <a:avLst/>
              <a:gdLst/>
              <a:ahLst/>
              <a:cxnLst>
                <a:cxn ang="0">
                  <a:pos x="437" y="286"/>
                </a:cxn>
                <a:cxn ang="0">
                  <a:pos x="437" y="248"/>
                </a:cxn>
                <a:cxn ang="0">
                  <a:pos x="415" y="138"/>
                </a:cxn>
                <a:cxn ang="0">
                  <a:pos x="271" y="77"/>
                </a:cxn>
                <a:cxn ang="0">
                  <a:pos x="70" y="118"/>
                </a:cxn>
                <a:cxn ang="0">
                  <a:pos x="70" y="31"/>
                </a:cxn>
                <a:cxn ang="0">
                  <a:pos x="284" y="0"/>
                </a:cxn>
                <a:cxn ang="0">
                  <a:pos x="516" y="76"/>
                </a:cxn>
                <a:cxn ang="0">
                  <a:pos x="558" y="200"/>
                </a:cxn>
                <a:cxn ang="0">
                  <a:pos x="561" y="290"/>
                </a:cxn>
                <a:cxn ang="0">
                  <a:pos x="561" y="727"/>
                </a:cxn>
                <a:cxn ang="0">
                  <a:pos x="293" y="762"/>
                </a:cxn>
                <a:cxn ang="0">
                  <a:pos x="83" y="720"/>
                </a:cxn>
                <a:cxn ang="0">
                  <a:pos x="0" y="558"/>
                </a:cxn>
                <a:cxn ang="0">
                  <a:pos x="96" y="363"/>
                </a:cxn>
                <a:cxn ang="0">
                  <a:pos x="336" y="297"/>
                </a:cxn>
                <a:cxn ang="0">
                  <a:pos x="437" y="286"/>
                </a:cxn>
                <a:cxn ang="0">
                  <a:pos x="437" y="356"/>
                </a:cxn>
                <a:cxn ang="0">
                  <a:pos x="267" y="382"/>
                </a:cxn>
                <a:cxn ang="0">
                  <a:pos x="127" y="545"/>
                </a:cxn>
                <a:cxn ang="0">
                  <a:pos x="168" y="650"/>
                </a:cxn>
                <a:cxn ang="0">
                  <a:pos x="312" y="687"/>
                </a:cxn>
                <a:cxn ang="0">
                  <a:pos x="437" y="670"/>
                </a:cxn>
                <a:cxn ang="0">
                  <a:pos x="437" y="356"/>
                </a:cxn>
              </a:cxnLst>
              <a:rect l="0" t="0" r="r" b="b"/>
              <a:pathLst>
                <a:path w="561" h="762">
                  <a:moveTo>
                    <a:pt x="437" y="286"/>
                  </a:moveTo>
                  <a:cubicBezTo>
                    <a:pt x="437" y="248"/>
                    <a:pt x="437" y="248"/>
                    <a:pt x="437" y="248"/>
                  </a:cubicBezTo>
                  <a:cubicBezTo>
                    <a:pt x="437" y="200"/>
                    <a:pt x="430" y="164"/>
                    <a:pt x="415" y="138"/>
                  </a:cubicBezTo>
                  <a:cubicBezTo>
                    <a:pt x="392" y="97"/>
                    <a:pt x="344" y="77"/>
                    <a:pt x="271" y="77"/>
                  </a:cubicBezTo>
                  <a:cubicBezTo>
                    <a:pt x="206" y="77"/>
                    <a:pt x="139" y="91"/>
                    <a:pt x="70" y="118"/>
                  </a:cubicBezTo>
                  <a:cubicBezTo>
                    <a:pt x="70" y="31"/>
                    <a:pt x="70" y="31"/>
                    <a:pt x="70" y="31"/>
                  </a:cubicBezTo>
                  <a:cubicBezTo>
                    <a:pt x="139" y="10"/>
                    <a:pt x="210" y="0"/>
                    <a:pt x="284" y="0"/>
                  </a:cubicBezTo>
                  <a:cubicBezTo>
                    <a:pt x="397" y="0"/>
                    <a:pt x="474" y="25"/>
                    <a:pt x="516" y="76"/>
                  </a:cubicBezTo>
                  <a:cubicBezTo>
                    <a:pt x="539" y="104"/>
                    <a:pt x="553" y="145"/>
                    <a:pt x="558" y="200"/>
                  </a:cubicBezTo>
                  <a:cubicBezTo>
                    <a:pt x="560" y="220"/>
                    <a:pt x="561" y="250"/>
                    <a:pt x="561" y="290"/>
                  </a:cubicBezTo>
                  <a:cubicBezTo>
                    <a:pt x="561" y="727"/>
                    <a:pt x="561" y="727"/>
                    <a:pt x="561" y="727"/>
                  </a:cubicBezTo>
                  <a:cubicBezTo>
                    <a:pt x="477" y="750"/>
                    <a:pt x="387" y="762"/>
                    <a:pt x="293" y="762"/>
                  </a:cubicBezTo>
                  <a:cubicBezTo>
                    <a:pt x="203" y="762"/>
                    <a:pt x="133" y="748"/>
                    <a:pt x="83" y="720"/>
                  </a:cubicBezTo>
                  <a:cubicBezTo>
                    <a:pt x="28" y="689"/>
                    <a:pt x="0" y="635"/>
                    <a:pt x="0" y="558"/>
                  </a:cubicBezTo>
                  <a:cubicBezTo>
                    <a:pt x="0" y="470"/>
                    <a:pt x="32" y="405"/>
                    <a:pt x="96" y="363"/>
                  </a:cubicBezTo>
                  <a:cubicBezTo>
                    <a:pt x="143" y="332"/>
                    <a:pt x="223" y="310"/>
                    <a:pt x="336" y="297"/>
                  </a:cubicBezTo>
                  <a:cubicBezTo>
                    <a:pt x="357" y="294"/>
                    <a:pt x="391" y="291"/>
                    <a:pt x="437" y="286"/>
                  </a:cubicBezTo>
                  <a:close/>
                  <a:moveTo>
                    <a:pt x="437" y="356"/>
                  </a:moveTo>
                  <a:cubicBezTo>
                    <a:pt x="362" y="363"/>
                    <a:pt x="305" y="372"/>
                    <a:pt x="267" y="382"/>
                  </a:cubicBezTo>
                  <a:cubicBezTo>
                    <a:pt x="173" y="405"/>
                    <a:pt x="127" y="460"/>
                    <a:pt x="127" y="545"/>
                  </a:cubicBezTo>
                  <a:cubicBezTo>
                    <a:pt x="127" y="593"/>
                    <a:pt x="140" y="627"/>
                    <a:pt x="168" y="650"/>
                  </a:cubicBezTo>
                  <a:cubicBezTo>
                    <a:pt x="198" y="675"/>
                    <a:pt x="246" y="687"/>
                    <a:pt x="312" y="687"/>
                  </a:cubicBezTo>
                  <a:cubicBezTo>
                    <a:pt x="357" y="687"/>
                    <a:pt x="398" y="681"/>
                    <a:pt x="437" y="670"/>
                  </a:cubicBezTo>
                  <a:lnTo>
                    <a:pt x="437" y="356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89" name="Freeform 52"/>
            <p:cNvSpPr>
              <a:spLocks noEditPoints="1"/>
            </p:cNvSpPr>
            <p:nvPr userDrawn="1"/>
          </p:nvSpPr>
          <p:spPr bwMode="gray">
            <a:xfrm>
              <a:off x="7594283" y="773113"/>
              <a:ext cx="50800" cy="96838"/>
            </a:xfrm>
            <a:custGeom>
              <a:avLst/>
              <a:gdLst/>
              <a:ahLst/>
              <a:cxnLst>
                <a:cxn ang="0">
                  <a:pos x="123" y="711"/>
                </a:cxn>
                <a:cxn ang="0">
                  <a:pos x="123" y="1087"/>
                </a:cxn>
                <a:cxn ang="0">
                  <a:pos x="0" y="1087"/>
                </a:cxn>
                <a:cxn ang="0">
                  <a:pos x="0" y="28"/>
                </a:cxn>
                <a:cxn ang="0">
                  <a:pos x="249" y="0"/>
                </a:cxn>
                <a:cxn ang="0">
                  <a:pos x="505" y="113"/>
                </a:cxn>
                <a:cxn ang="0">
                  <a:pos x="567" y="379"/>
                </a:cxn>
                <a:cxn ang="0">
                  <a:pos x="489" y="662"/>
                </a:cxn>
                <a:cxn ang="0">
                  <a:pos x="274" y="762"/>
                </a:cxn>
                <a:cxn ang="0">
                  <a:pos x="172" y="742"/>
                </a:cxn>
                <a:cxn ang="0">
                  <a:pos x="123" y="711"/>
                </a:cxn>
                <a:cxn ang="0">
                  <a:pos x="123" y="625"/>
                </a:cxn>
                <a:cxn ang="0">
                  <a:pos x="260" y="687"/>
                </a:cxn>
                <a:cxn ang="0">
                  <a:pos x="400" y="591"/>
                </a:cxn>
                <a:cxn ang="0">
                  <a:pos x="441" y="378"/>
                </a:cxn>
                <a:cxn ang="0">
                  <a:pos x="386" y="140"/>
                </a:cxn>
                <a:cxn ang="0">
                  <a:pos x="230" y="74"/>
                </a:cxn>
                <a:cxn ang="0">
                  <a:pos x="123" y="83"/>
                </a:cxn>
                <a:cxn ang="0">
                  <a:pos x="123" y="625"/>
                </a:cxn>
              </a:cxnLst>
              <a:rect l="0" t="0" r="r" b="b"/>
              <a:pathLst>
                <a:path w="567" h="1087">
                  <a:moveTo>
                    <a:pt x="123" y="711"/>
                  </a:moveTo>
                  <a:cubicBezTo>
                    <a:pt x="123" y="1087"/>
                    <a:pt x="123" y="1087"/>
                    <a:pt x="123" y="1087"/>
                  </a:cubicBezTo>
                  <a:cubicBezTo>
                    <a:pt x="0" y="1087"/>
                    <a:pt x="0" y="1087"/>
                    <a:pt x="0" y="1087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85" y="9"/>
                    <a:pt x="168" y="0"/>
                    <a:pt x="249" y="0"/>
                  </a:cubicBezTo>
                  <a:cubicBezTo>
                    <a:pt x="374" y="0"/>
                    <a:pt x="459" y="37"/>
                    <a:pt x="505" y="113"/>
                  </a:cubicBezTo>
                  <a:cubicBezTo>
                    <a:pt x="546" y="180"/>
                    <a:pt x="567" y="269"/>
                    <a:pt x="567" y="379"/>
                  </a:cubicBezTo>
                  <a:cubicBezTo>
                    <a:pt x="567" y="495"/>
                    <a:pt x="541" y="590"/>
                    <a:pt x="489" y="662"/>
                  </a:cubicBezTo>
                  <a:cubicBezTo>
                    <a:pt x="440" y="728"/>
                    <a:pt x="369" y="762"/>
                    <a:pt x="274" y="762"/>
                  </a:cubicBezTo>
                  <a:cubicBezTo>
                    <a:pt x="234" y="762"/>
                    <a:pt x="200" y="755"/>
                    <a:pt x="172" y="742"/>
                  </a:cubicBezTo>
                  <a:cubicBezTo>
                    <a:pt x="159" y="736"/>
                    <a:pt x="142" y="725"/>
                    <a:pt x="123" y="711"/>
                  </a:cubicBezTo>
                  <a:close/>
                  <a:moveTo>
                    <a:pt x="123" y="625"/>
                  </a:moveTo>
                  <a:cubicBezTo>
                    <a:pt x="165" y="666"/>
                    <a:pt x="210" y="687"/>
                    <a:pt x="260" y="687"/>
                  </a:cubicBezTo>
                  <a:cubicBezTo>
                    <a:pt x="324" y="687"/>
                    <a:pt x="371" y="655"/>
                    <a:pt x="400" y="591"/>
                  </a:cubicBezTo>
                  <a:cubicBezTo>
                    <a:pt x="427" y="533"/>
                    <a:pt x="441" y="462"/>
                    <a:pt x="441" y="378"/>
                  </a:cubicBezTo>
                  <a:cubicBezTo>
                    <a:pt x="441" y="272"/>
                    <a:pt x="422" y="193"/>
                    <a:pt x="386" y="140"/>
                  </a:cubicBezTo>
                  <a:cubicBezTo>
                    <a:pt x="356" y="96"/>
                    <a:pt x="304" y="74"/>
                    <a:pt x="230" y="74"/>
                  </a:cubicBezTo>
                  <a:cubicBezTo>
                    <a:pt x="198" y="74"/>
                    <a:pt x="162" y="77"/>
                    <a:pt x="123" y="83"/>
                  </a:cubicBezTo>
                  <a:lnTo>
                    <a:pt x="123" y="625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90" name="Freeform 53"/>
            <p:cNvSpPr>
              <a:spLocks noEditPoints="1"/>
            </p:cNvSpPr>
            <p:nvPr userDrawn="1"/>
          </p:nvSpPr>
          <p:spPr bwMode="gray">
            <a:xfrm>
              <a:off x="7659371" y="752475"/>
              <a:ext cx="14288" cy="87313"/>
            </a:xfrm>
            <a:custGeom>
              <a:avLst/>
              <a:gdLst/>
              <a:ahLst/>
              <a:cxnLst>
                <a:cxn ang="0">
                  <a:pos x="75" y="0"/>
                </a:cxn>
                <a:cxn ang="0">
                  <a:pos x="131" y="25"/>
                </a:cxn>
                <a:cxn ang="0">
                  <a:pos x="150" y="76"/>
                </a:cxn>
                <a:cxn ang="0">
                  <a:pos x="126" y="132"/>
                </a:cxn>
                <a:cxn ang="0">
                  <a:pos x="74" y="151"/>
                </a:cxn>
                <a:cxn ang="0">
                  <a:pos x="19" y="127"/>
                </a:cxn>
                <a:cxn ang="0">
                  <a:pos x="0" y="75"/>
                </a:cxn>
                <a:cxn ang="0">
                  <a:pos x="24" y="20"/>
                </a:cxn>
                <a:cxn ang="0">
                  <a:pos x="75" y="0"/>
                </a:cxn>
                <a:cxn ang="0">
                  <a:pos x="15" y="987"/>
                </a:cxn>
                <a:cxn ang="0">
                  <a:pos x="15" y="265"/>
                </a:cxn>
                <a:cxn ang="0">
                  <a:pos x="138" y="265"/>
                </a:cxn>
                <a:cxn ang="0">
                  <a:pos x="138" y="987"/>
                </a:cxn>
                <a:cxn ang="0">
                  <a:pos x="15" y="987"/>
                </a:cxn>
              </a:cxnLst>
              <a:rect l="0" t="0" r="r" b="b"/>
              <a:pathLst>
                <a:path w="150" h="987">
                  <a:moveTo>
                    <a:pt x="75" y="0"/>
                  </a:moveTo>
                  <a:cubicBezTo>
                    <a:pt x="97" y="0"/>
                    <a:pt x="116" y="9"/>
                    <a:pt x="131" y="25"/>
                  </a:cubicBezTo>
                  <a:cubicBezTo>
                    <a:pt x="144" y="40"/>
                    <a:pt x="150" y="57"/>
                    <a:pt x="150" y="76"/>
                  </a:cubicBezTo>
                  <a:cubicBezTo>
                    <a:pt x="150" y="98"/>
                    <a:pt x="142" y="117"/>
                    <a:pt x="126" y="132"/>
                  </a:cubicBezTo>
                  <a:cubicBezTo>
                    <a:pt x="112" y="145"/>
                    <a:pt x="94" y="151"/>
                    <a:pt x="74" y="151"/>
                  </a:cubicBezTo>
                  <a:cubicBezTo>
                    <a:pt x="52" y="151"/>
                    <a:pt x="33" y="143"/>
                    <a:pt x="19" y="127"/>
                  </a:cubicBezTo>
                  <a:cubicBezTo>
                    <a:pt x="6" y="112"/>
                    <a:pt x="0" y="95"/>
                    <a:pt x="0" y="75"/>
                  </a:cubicBezTo>
                  <a:cubicBezTo>
                    <a:pt x="0" y="53"/>
                    <a:pt x="8" y="35"/>
                    <a:pt x="24" y="20"/>
                  </a:cubicBezTo>
                  <a:cubicBezTo>
                    <a:pt x="38" y="7"/>
                    <a:pt x="55" y="0"/>
                    <a:pt x="75" y="0"/>
                  </a:cubicBezTo>
                  <a:close/>
                  <a:moveTo>
                    <a:pt x="15" y="987"/>
                  </a:moveTo>
                  <a:cubicBezTo>
                    <a:pt x="15" y="265"/>
                    <a:pt x="15" y="265"/>
                    <a:pt x="15" y="265"/>
                  </a:cubicBezTo>
                  <a:cubicBezTo>
                    <a:pt x="138" y="265"/>
                    <a:pt x="138" y="265"/>
                    <a:pt x="138" y="265"/>
                  </a:cubicBezTo>
                  <a:cubicBezTo>
                    <a:pt x="138" y="987"/>
                    <a:pt x="138" y="987"/>
                    <a:pt x="138" y="987"/>
                  </a:cubicBezTo>
                  <a:lnTo>
                    <a:pt x="15" y="9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91" name="Freeform 54"/>
            <p:cNvSpPr>
              <a:spLocks/>
            </p:cNvSpPr>
            <p:nvPr userDrawn="1"/>
          </p:nvSpPr>
          <p:spPr bwMode="gray">
            <a:xfrm>
              <a:off x="7692708" y="773113"/>
              <a:ext cx="49213" cy="66675"/>
            </a:xfrm>
            <a:custGeom>
              <a:avLst/>
              <a:gdLst/>
              <a:ahLst/>
              <a:cxnLst>
                <a:cxn ang="0">
                  <a:pos x="0" y="742"/>
                </a:cxn>
                <a:cxn ang="0">
                  <a:pos x="0" y="28"/>
                </a:cxn>
                <a:cxn ang="0">
                  <a:pos x="289" y="0"/>
                </a:cxn>
                <a:cxn ang="0">
                  <a:pos x="526" y="113"/>
                </a:cxn>
                <a:cxn ang="0">
                  <a:pos x="548" y="299"/>
                </a:cxn>
                <a:cxn ang="0">
                  <a:pos x="548" y="742"/>
                </a:cxn>
                <a:cxn ang="0">
                  <a:pos x="424" y="742"/>
                </a:cxn>
                <a:cxn ang="0">
                  <a:pos x="424" y="306"/>
                </a:cxn>
                <a:cxn ang="0">
                  <a:pos x="403" y="134"/>
                </a:cxn>
                <a:cxn ang="0">
                  <a:pos x="277" y="74"/>
                </a:cxn>
                <a:cxn ang="0">
                  <a:pos x="123" y="90"/>
                </a:cxn>
                <a:cxn ang="0">
                  <a:pos x="123" y="742"/>
                </a:cxn>
                <a:cxn ang="0">
                  <a:pos x="0" y="742"/>
                </a:cxn>
              </a:cxnLst>
              <a:rect l="0" t="0" r="r" b="b"/>
              <a:pathLst>
                <a:path w="548" h="742">
                  <a:moveTo>
                    <a:pt x="0" y="742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114" y="9"/>
                    <a:pt x="210" y="0"/>
                    <a:pt x="289" y="0"/>
                  </a:cubicBezTo>
                  <a:cubicBezTo>
                    <a:pt x="415" y="0"/>
                    <a:pt x="494" y="38"/>
                    <a:pt x="526" y="113"/>
                  </a:cubicBezTo>
                  <a:cubicBezTo>
                    <a:pt x="541" y="149"/>
                    <a:pt x="548" y="210"/>
                    <a:pt x="548" y="299"/>
                  </a:cubicBezTo>
                  <a:cubicBezTo>
                    <a:pt x="548" y="742"/>
                    <a:pt x="548" y="742"/>
                    <a:pt x="548" y="742"/>
                  </a:cubicBezTo>
                  <a:cubicBezTo>
                    <a:pt x="424" y="742"/>
                    <a:pt x="424" y="742"/>
                    <a:pt x="424" y="742"/>
                  </a:cubicBezTo>
                  <a:cubicBezTo>
                    <a:pt x="424" y="306"/>
                    <a:pt x="424" y="306"/>
                    <a:pt x="424" y="306"/>
                  </a:cubicBezTo>
                  <a:cubicBezTo>
                    <a:pt x="424" y="221"/>
                    <a:pt x="417" y="163"/>
                    <a:pt x="403" y="134"/>
                  </a:cubicBezTo>
                  <a:cubicBezTo>
                    <a:pt x="382" y="94"/>
                    <a:pt x="341" y="74"/>
                    <a:pt x="277" y="74"/>
                  </a:cubicBezTo>
                  <a:cubicBezTo>
                    <a:pt x="227" y="74"/>
                    <a:pt x="176" y="80"/>
                    <a:pt x="123" y="90"/>
                  </a:cubicBezTo>
                  <a:cubicBezTo>
                    <a:pt x="123" y="742"/>
                    <a:pt x="123" y="742"/>
                    <a:pt x="123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92" name="Freeform 55"/>
            <p:cNvSpPr>
              <a:spLocks noEditPoints="1"/>
            </p:cNvSpPr>
            <p:nvPr userDrawn="1"/>
          </p:nvSpPr>
          <p:spPr bwMode="gray">
            <a:xfrm>
              <a:off x="7756208" y="773113"/>
              <a:ext cx="50800" cy="98425"/>
            </a:xfrm>
            <a:custGeom>
              <a:avLst/>
              <a:gdLst/>
              <a:ahLst/>
              <a:cxnLst>
                <a:cxn ang="0">
                  <a:pos x="445" y="677"/>
                </a:cxn>
                <a:cxn ang="0">
                  <a:pos x="399" y="721"/>
                </a:cxn>
                <a:cxn ang="0">
                  <a:pos x="257" y="762"/>
                </a:cxn>
                <a:cxn ang="0">
                  <a:pos x="97" y="708"/>
                </a:cxn>
                <a:cxn ang="0">
                  <a:pos x="0" y="414"/>
                </a:cxn>
                <a:cxn ang="0">
                  <a:pos x="71" y="131"/>
                </a:cxn>
                <a:cxn ang="0">
                  <a:pos x="340" y="0"/>
                </a:cxn>
                <a:cxn ang="0">
                  <a:pos x="569" y="28"/>
                </a:cxn>
                <a:cxn ang="0">
                  <a:pos x="569" y="601"/>
                </a:cxn>
                <a:cxn ang="0">
                  <a:pos x="555" y="843"/>
                </a:cxn>
                <a:cxn ang="0">
                  <a:pos x="422" y="1052"/>
                </a:cxn>
                <a:cxn ang="0">
                  <a:pos x="191" y="1098"/>
                </a:cxn>
                <a:cxn ang="0">
                  <a:pos x="98" y="1092"/>
                </a:cxn>
                <a:cxn ang="0">
                  <a:pos x="98" y="1018"/>
                </a:cxn>
                <a:cxn ang="0">
                  <a:pos x="190" y="1024"/>
                </a:cxn>
                <a:cxn ang="0">
                  <a:pos x="341" y="997"/>
                </a:cxn>
                <a:cxn ang="0">
                  <a:pos x="434" y="858"/>
                </a:cxn>
                <a:cxn ang="0">
                  <a:pos x="445" y="716"/>
                </a:cxn>
                <a:cxn ang="0">
                  <a:pos x="445" y="677"/>
                </a:cxn>
                <a:cxn ang="0">
                  <a:pos x="445" y="81"/>
                </a:cxn>
                <a:cxn ang="0">
                  <a:pos x="353" y="74"/>
                </a:cxn>
                <a:cxn ang="0">
                  <a:pos x="231" y="106"/>
                </a:cxn>
                <a:cxn ang="0">
                  <a:pos x="152" y="233"/>
                </a:cxn>
                <a:cxn ang="0">
                  <a:pos x="126" y="419"/>
                </a:cxn>
                <a:cxn ang="0">
                  <a:pos x="174" y="633"/>
                </a:cxn>
                <a:cxn ang="0">
                  <a:pos x="274" y="687"/>
                </a:cxn>
                <a:cxn ang="0">
                  <a:pos x="371" y="654"/>
                </a:cxn>
                <a:cxn ang="0">
                  <a:pos x="435" y="566"/>
                </a:cxn>
                <a:cxn ang="0">
                  <a:pos x="445" y="483"/>
                </a:cxn>
                <a:cxn ang="0">
                  <a:pos x="445" y="81"/>
                </a:cxn>
              </a:cxnLst>
              <a:rect l="0" t="0" r="r" b="b"/>
              <a:pathLst>
                <a:path w="569" h="1098">
                  <a:moveTo>
                    <a:pt x="445" y="677"/>
                  </a:moveTo>
                  <a:cubicBezTo>
                    <a:pt x="427" y="697"/>
                    <a:pt x="412" y="712"/>
                    <a:pt x="399" y="721"/>
                  </a:cubicBezTo>
                  <a:cubicBezTo>
                    <a:pt x="362" y="748"/>
                    <a:pt x="314" y="762"/>
                    <a:pt x="257" y="762"/>
                  </a:cubicBezTo>
                  <a:cubicBezTo>
                    <a:pt x="192" y="762"/>
                    <a:pt x="139" y="744"/>
                    <a:pt x="97" y="708"/>
                  </a:cubicBezTo>
                  <a:cubicBezTo>
                    <a:pt x="32" y="654"/>
                    <a:pt x="0" y="556"/>
                    <a:pt x="0" y="414"/>
                  </a:cubicBezTo>
                  <a:cubicBezTo>
                    <a:pt x="0" y="300"/>
                    <a:pt x="24" y="206"/>
                    <a:pt x="71" y="131"/>
                  </a:cubicBezTo>
                  <a:cubicBezTo>
                    <a:pt x="126" y="44"/>
                    <a:pt x="216" y="0"/>
                    <a:pt x="340" y="0"/>
                  </a:cubicBezTo>
                  <a:cubicBezTo>
                    <a:pt x="414" y="0"/>
                    <a:pt x="490" y="9"/>
                    <a:pt x="569" y="28"/>
                  </a:cubicBezTo>
                  <a:cubicBezTo>
                    <a:pt x="569" y="601"/>
                    <a:pt x="569" y="601"/>
                    <a:pt x="569" y="601"/>
                  </a:cubicBezTo>
                  <a:cubicBezTo>
                    <a:pt x="569" y="707"/>
                    <a:pt x="564" y="788"/>
                    <a:pt x="555" y="843"/>
                  </a:cubicBezTo>
                  <a:cubicBezTo>
                    <a:pt x="538" y="944"/>
                    <a:pt x="494" y="1013"/>
                    <a:pt x="422" y="1052"/>
                  </a:cubicBezTo>
                  <a:cubicBezTo>
                    <a:pt x="363" y="1083"/>
                    <a:pt x="286" y="1098"/>
                    <a:pt x="191" y="1098"/>
                  </a:cubicBezTo>
                  <a:cubicBezTo>
                    <a:pt x="164" y="1098"/>
                    <a:pt x="133" y="1096"/>
                    <a:pt x="98" y="1092"/>
                  </a:cubicBezTo>
                  <a:cubicBezTo>
                    <a:pt x="98" y="1018"/>
                    <a:pt x="98" y="1018"/>
                    <a:pt x="98" y="1018"/>
                  </a:cubicBezTo>
                  <a:cubicBezTo>
                    <a:pt x="130" y="1022"/>
                    <a:pt x="160" y="1024"/>
                    <a:pt x="190" y="1024"/>
                  </a:cubicBezTo>
                  <a:cubicBezTo>
                    <a:pt x="258" y="1024"/>
                    <a:pt x="308" y="1015"/>
                    <a:pt x="341" y="997"/>
                  </a:cubicBezTo>
                  <a:cubicBezTo>
                    <a:pt x="390" y="971"/>
                    <a:pt x="421" y="924"/>
                    <a:pt x="434" y="858"/>
                  </a:cubicBezTo>
                  <a:cubicBezTo>
                    <a:pt x="442" y="821"/>
                    <a:pt x="445" y="773"/>
                    <a:pt x="445" y="716"/>
                  </a:cubicBezTo>
                  <a:lnTo>
                    <a:pt x="445" y="677"/>
                  </a:lnTo>
                  <a:close/>
                  <a:moveTo>
                    <a:pt x="445" y="81"/>
                  </a:moveTo>
                  <a:cubicBezTo>
                    <a:pt x="411" y="77"/>
                    <a:pt x="380" y="74"/>
                    <a:pt x="353" y="74"/>
                  </a:cubicBezTo>
                  <a:cubicBezTo>
                    <a:pt x="301" y="74"/>
                    <a:pt x="260" y="85"/>
                    <a:pt x="231" y="106"/>
                  </a:cubicBezTo>
                  <a:cubicBezTo>
                    <a:pt x="197" y="130"/>
                    <a:pt x="171" y="173"/>
                    <a:pt x="152" y="233"/>
                  </a:cubicBezTo>
                  <a:cubicBezTo>
                    <a:pt x="135" y="287"/>
                    <a:pt x="126" y="348"/>
                    <a:pt x="126" y="419"/>
                  </a:cubicBezTo>
                  <a:cubicBezTo>
                    <a:pt x="126" y="517"/>
                    <a:pt x="142" y="589"/>
                    <a:pt x="174" y="633"/>
                  </a:cubicBezTo>
                  <a:cubicBezTo>
                    <a:pt x="199" y="669"/>
                    <a:pt x="233" y="687"/>
                    <a:pt x="274" y="687"/>
                  </a:cubicBezTo>
                  <a:cubicBezTo>
                    <a:pt x="308" y="687"/>
                    <a:pt x="341" y="676"/>
                    <a:pt x="371" y="654"/>
                  </a:cubicBezTo>
                  <a:cubicBezTo>
                    <a:pt x="401" y="631"/>
                    <a:pt x="423" y="602"/>
                    <a:pt x="435" y="566"/>
                  </a:cubicBezTo>
                  <a:cubicBezTo>
                    <a:pt x="442" y="547"/>
                    <a:pt x="445" y="520"/>
                    <a:pt x="445" y="483"/>
                  </a:cubicBezTo>
                  <a:lnTo>
                    <a:pt x="445" y="8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93" name="Freeform 56"/>
            <p:cNvSpPr>
              <a:spLocks/>
            </p:cNvSpPr>
            <p:nvPr userDrawn="1"/>
          </p:nvSpPr>
          <p:spPr bwMode="gray">
            <a:xfrm>
              <a:off x="7856221" y="758825"/>
              <a:ext cx="28575" cy="8096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4" y="0"/>
                </a:cxn>
                <a:cxn ang="0">
                  <a:pos x="124" y="195"/>
                </a:cxn>
                <a:cxn ang="0">
                  <a:pos x="318" y="195"/>
                </a:cxn>
                <a:cxn ang="0">
                  <a:pos x="318" y="273"/>
                </a:cxn>
                <a:cxn ang="0">
                  <a:pos x="124" y="273"/>
                </a:cxn>
                <a:cxn ang="0">
                  <a:pos x="124" y="656"/>
                </a:cxn>
                <a:cxn ang="0">
                  <a:pos x="156" y="804"/>
                </a:cxn>
                <a:cxn ang="0">
                  <a:pos x="225" y="836"/>
                </a:cxn>
                <a:cxn ang="0">
                  <a:pos x="277" y="838"/>
                </a:cxn>
                <a:cxn ang="0">
                  <a:pos x="318" y="838"/>
                </a:cxn>
                <a:cxn ang="0">
                  <a:pos x="318" y="917"/>
                </a:cxn>
                <a:cxn ang="0">
                  <a:pos x="251" y="917"/>
                </a:cxn>
                <a:cxn ang="0">
                  <a:pos x="127" y="904"/>
                </a:cxn>
                <a:cxn ang="0">
                  <a:pos x="11" y="782"/>
                </a:cxn>
                <a:cxn ang="0">
                  <a:pos x="0" y="638"/>
                </a:cxn>
                <a:cxn ang="0">
                  <a:pos x="0" y="0"/>
                </a:cxn>
              </a:cxnLst>
              <a:rect l="0" t="0" r="r" b="b"/>
              <a:pathLst>
                <a:path w="318" h="917">
                  <a:moveTo>
                    <a:pt x="0" y="0"/>
                  </a:moveTo>
                  <a:cubicBezTo>
                    <a:pt x="124" y="0"/>
                    <a:pt x="124" y="0"/>
                    <a:pt x="124" y="0"/>
                  </a:cubicBezTo>
                  <a:cubicBezTo>
                    <a:pt x="124" y="195"/>
                    <a:pt x="124" y="195"/>
                    <a:pt x="124" y="195"/>
                  </a:cubicBezTo>
                  <a:cubicBezTo>
                    <a:pt x="318" y="195"/>
                    <a:pt x="318" y="195"/>
                    <a:pt x="318" y="195"/>
                  </a:cubicBezTo>
                  <a:cubicBezTo>
                    <a:pt x="318" y="273"/>
                    <a:pt x="318" y="273"/>
                    <a:pt x="318" y="273"/>
                  </a:cubicBezTo>
                  <a:cubicBezTo>
                    <a:pt x="124" y="273"/>
                    <a:pt x="124" y="273"/>
                    <a:pt x="124" y="273"/>
                  </a:cubicBezTo>
                  <a:cubicBezTo>
                    <a:pt x="124" y="656"/>
                    <a:pt x="124" y="656"/>
                    <a:pt x="124" y="656"/>
                  </a:cubicBezTo>
                  <a:cubicBezTo>
                    <a:pt x="124" y="729"/>
                    <a:pt x="135" y="778"/>
                    <a:pt x="156" y="804"/>
                  </a:cubicBezTo>
                  <a:cubicBezTo>
                    <a:pt x="171" y="821"/>
                    <a:pt x="194" y="832"/>
                    <a:pt x="225" y="836"/>
                  </a:cubicBezTo>
                  <a:cubicBezTo>
                    <a:pt x="235" y="837"/>
                    <a:pt x="252" y="838"/>
                    <a:pt x="277" y="838"/>
                  </a:cubicBezTo>
                  <a:cubicBezTo>
                    <a:pt x="318" y="838"/>
                    <a:pt x="318" y="838"/>
                    <a:pt x="318" y="838"/>
                  </a:cubicBezTo>
                  <a:cubicBezTo>
                    <a:pt x="318" y="917"/>
                    <a:pt x="318" y="917"/>
                    <a:pt x="318" y="917"/>
                  </a:cubicBezTo>
                  <a:cubicBezTo>
                    <a:pt x="251" y="917"/>
                    <a:pt x="251" y="917"/>
                    <a:pt x="251" y="917"/>
                  </a:cubicBezTo>
                  <a:cubicBezTo>
                    <a:pt x="198" y="917"/>
                    <a:pt x="157" y="913"/>
                    <a:pt x="127" y="904"/>
                  </a:cubicBezTo>
                  <a:cubicBezTo>
                    <a:pt x="64" y="887"/>
                    <a:pt x="26" y="846"/>
                    <a:pt x="11" y="782"/>
                  </a:cubicBezTo>
                  <a:cubicBezTo>
                    <a:pt x="4" y="747"/>
                    <a:pt x="0" y="699"/>
                    <a:pt x="0" y="638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94" name="Freeform 57"/>
            <p:cNvSpPr>
              <a:spLocks noEditPoints="1"/>
            </p:cNvSpPr>
            <p:nvPr userDrawn="1"/>
          </p:nvSpPr>
          <p:spPr bwMode="gray">
            <a:xfrm>
              <a:off x="7894321" y="773113"/>
              <a:ext cx="53975" cy="68263"/>
            </a:xfrm>
            <a:custGeom>
              <a:avLst/>
              <a:gdLst/>
              <a:ahLst/>
              <a:cxnLst>
                <a:cxn ang="0">
                  <a:pos x="304" y="0"/>
                </a:cxn>
                <a:cxn ang="0">
                  <a:pos x="534" y="103"/>
                </a:cxn>
                <a:cxn ang="0">
                  <a:pos x="607" y="381"/>
                </a:cxn>
                <a:cxn ang="0">
                  <a:pos x="534" y="659"/>
                </a:cxn>
                <a:cxn ang="0">
                  <a:pos x="304" y="762"/>
                </a:cxn>
                <a:cxn ang="0">
                  <a:pos x="0" y="375"/>
                </a:cxn>
                <a:cxn ang="0">
                  <a:pos x="73" y="103"/>
                </a:cxn>
                <a:cxn ang="0">
                  <a:pos x="304" y="0"/>
                </a:cxn>
                <a:cxn ang="0">
                  <a:pos x="304" y="74"/>
                </a:cxn>
                <a:cxn ang="0">
                  <a:pos x="159" y="168"/>
                </a:cxn>
                <a:cxn ang="0">
                  <a:pos x="126" y="377"/>
                </a:cxn>
                <a:cxn ang="0">
                  <a:pos x="159" y="593"/>
                </a:cxn>
                <a:cxn ang="0">
                  <a:pos x="304" y="687"/>
                </a:cxn>
                <a:cxn ang="0">
                  <a:pos x="448" y="593"/>
                </a:cxn>
                <a:cxn ang="0">
                  <a:pos x="481" y="380"/>
                </a:cxn>
                <a:cxn ang="0">
                  <a:pos x="448" y="168"/>
                </a:cxn>
                <a:cxn ang="0">
                  <a:pos x="304" y="74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4" y="762"/>
                  </a:cubicBezTo>
                  <a:cubicBezTo>
                    <a:pt x="101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6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6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95" name="Freeform 58"/>
            <p:cNvSpPr>
              <a:spLocks/>
            </p:cNvSpPr>
            <p:nvPr userDrawn="1"/>
          </p:nvSpPr>
          <p:spPr bwMode="gray">
            <a:xfrm>
              <a:off x="7964171" y="773113"/>
              <a:ext cx="82550" cy="66675"/>
            </a:xfrm>
            <a:custGeom>
              <a:avLst/>
              <a:gdLst/>
              <a:ahLst/>
              <a:cxnLst>
                <a:cxn ang="0">
                  <a:pos x="0" y="742"/>
                </a:cxn>
                <a:cxn ang="0">
                  <a:pos x="0" y="28"/>
                </a:cxn>
                <a:cxn ang="0">
                  <a:pos x="267" y="0"/>
                </a:cxn>
                <a:cxn ang="0">
                  <a:pos x="460" y="46"/>
                </a:cxn>
                <a:cxn ang="0">
                  <a:pos x="691" y="0"/>
                </a:cxn>
                <a:cxn ang="0">
                  <a:pos x="912" y="114"/>
                </a:cxn>
                <a:cxn ang="0">
                  <a:pos x="933" y="299"/>
                </a:cxn>
                <a:cxn ang="0">
                  <a:pos x="933" y="742"/>
                </a:cxn>
                <a:cxn ang="0">
                  <a:pos x="809" y="742"/>
                </a:cxn>
                <a:cxn ang="0">
                  <a:pos x="809" y="306"/>
                </a:cxn>
                <a:cxn ang="0">
                  <a:pos x="790" y="135"/>
                </a:cxn>
                <a:cxn ang="0">
                  <a:pos x="675" y="74"/>
                </a:cxn>
                <a:cxn ang="0">
                  <a:pos x="528" y="108"/>
                </a:cxn>
                <a:cxn ang="0">
                  <a:pos x="528" y="742"/>
                </a:cxn>
                <a:cxn ang="0">
                  <a:pos x="405" y="742"/>
                </a:cxn>
                <a:cxn ang="0">
                  <a:pos x="405" y="301"/>
                </a:cxn>
                <a:cxn ang="0">
                  <a:pos x="385" y="135"/>
                </a:cxn>
                <a:cxn ang="0">
                  <a:pos x="267" y="74"/>
                </a:cxn>
                <a:cxn ang="0">
                  <a:pos x="124" y="90"/>
                </a:cxn>
                <a:cxn ang="0">
                  <a:pos x="124" y="742"/>
                </a:cxn>
                <a:cxn ang="0">
                  <a:pos x="0" y="742"/>
                </a:cxn>
              </a:cxnLst>
              <a:rect l="0" t="0" r="r" b="b"/>
              <a:pathLst>
                <a:path w="933" h="742">
                  <a:moveTo>
                    <a:pt x="0" y="742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113" y="9"/>
                    <a:pt x="202" y="0"/>
                    <a:pt x="267" y="0"/>
                  </a:cubicBezTo>
                  <a:cubicBezTo>
                    <a:pt x="352" y="0"/>
                    <a:pt x="417" y="15"/>
                    <a:pt x="460" y="46"/>
                  </a:cubicBezTo>
                  <a:cubicBezTo>
                    <a:pt x="538" y="15"/>
                    <a:pt x="615" y="0"/>
                    <a:pt x="691" y="0"/>
                  </a:cubicBezTo>
                  <a:cubicBezTo>
                    <a:pt x="808" y="0"/>
                    <a:pt x="881" y="38"/>
                    <a:pt x="912" y="114"/>
                  </a:cubicBezTo>
                  <a:cubicBezTo>
                    <a:pt x="926" y="149"/>
                    <a:pt x="933" y="211"/>
                    <a:pt x="933" y="299"/>
                  </a:cubicBezTo>
                  <a:cubicBezTo>
                    <a:pt x="933" y="742"/>
                    <a:pt x="933" y="742"/>
                    <a:pt x="933" y="742"/>
                  </a:cubicBezTo>
                  <a:cubicBezTo>
                    <a:pt x="809" y="742"/>
                    <a:pt x="809" y="742"/>
                    <a:pt x="809" y="742"/>
                  </a:cubicBezTo>
                  <a:cubicBezTo>
                    <a:pt x="809" y="306"/>
                    <a:pt x="809" y="306"/>
                    <a:pt x="809" y="306"/>
                  </a:cubicBezTo>
                  <a:cubicBezTo>
                    <a:pt x="809" y="222"/>
                    <a:pt x="803" y="164"/>
                    <a:pt x="790" y="135"/>
                  </a:cubicBezTo>
                  <a:cubicBezTo>
                    <a:pt x="771" y="94"/>
                    <a:pt x="733" y="74"/>
                    <a:pt x="675" y="74"/>
                  </a:cubicBezTo>
                  <a:cubicBezTo>
                    <a:pt x="627" y="74"/>
                    <a:pt x="578" y="86"/>
                    <a:pt x="528" y="108"/>
                  </a:cubicBezTo>
                  <a:cubicBezTo>
                    <a:pt x="528" y="742"/>
                    <a:pt x="528" y="742"/>
                    <a:pt x="528" y="742"/>
                  </a:cubicBezTo>
                  <a:cubicBezTo>
                    <a:pt x="405" y="742"/>
                    <a:pt x="405" y="742"/>
                    <a:pt x="405" y="742"/>
                  </a:cubicBezTo>
                  <a:cubicBezTo>
                    <a:pt x="405" y="301"/>
                    <a:pt x="405" y="301"/>
                    <a:pt x="405" y="301"/>
                  </a:cubicBezTo>
                  <a:cubicBezTo>
                    <a:pt x="405" y="219"/>
                    <a:pt x="398" y="164"/>
                    <a:pt x="385" y="135"/>
                  </a:cubicBezTo>
                  <a:cubicBezTo>
                    <a:pt x="366" y="94"/>
                    <a:pt x="327" y="74"/>
                    <a:pt x="267" y="74"/>
                  </a:cubicBezTo>
                  <a:cubicBezTo>
                    <a:pt x="221" y="74"/>
                    <a:pt x="173" y="80"/>
                    <a:pt x="124" y="90"/>
                  </a:cubicBezTo>
                  <a:cubicBezTo>
                    <a:pt x="124" y="742"/>
                    <a:pt x="124" y="742"/>
                    <a:pt x="124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96" name="Freeform 62"/>
            <p:cNvSpPr>
              <a:spLocks noEditPoints="1"/>
            </p:cNvSpPr>
            <p:nvPr userDrawn="1"/>
          </p:nvSpPr>
          <p:spPr bwMode="gray">
            <a:xfrm>
              <a:off x="8062596" y="773113"/>
              <a:ext cx="53975" cy="68263"/>
            </a:xfrm>
            <a:custGeom>
              <a:avLst/>
              <a:gdLst/>
              <a:ahLst/>
              <a:cxnLst>
                <a:cxn ang="0">
                  <a:pos x="304" y="0"/>
                </a:cxn>
                <a:cxn ang="0">
                  <a:pos x="534" y="103"/>
                </a:cxn>
                <a:cxn ang="0">
                  <a:pos x="607" y="381"/>
                </a:cxn>
                <a:cxn ang="0">
                  <a:pos x="534" y="659"/>
                </a:cxn>
                <a:cxn ang="0">
                  <a:pos x="304" y="762"/>
                </a:cxn>
                <a:cxn ang="0">
                  <a:pos x="0" y="375"/>
                </a:cxn>
                <a:cxn ang="0">
                  <a:pos x="73" y="103"/>
                </a:cxn>
                <a:cxn ang="0">
                  <a:pos x="304" y="0"/>
                </a:cxn>
                <a:cxn ang="0">
                  <a:pos x="304" y="74"/>
                </a:cxn>
                <a:cxn ang="0">
                  <a:pos x="159" y="168"/>
                </a:cxn>
                <a:cxn ang="0">
                  <a:pos x="126" y="377"/>
                </a:cxn>
                <a:cxn ang="0">
                  <a:pos x="159" y="593"/>
                </a:cxn>
                <a:cxn ang="0">
                  <a:pos x="304" y="687"/>
                </a:cxn>
                <a:cxn ang="0">
                  <a:pos x="448" y="593"/>
                </a:cxn>
                <a:cxn ang="0">
                  <a:pos x="481" y="380"/>
                </a:cxn>
                <a:cxn ang="0">
                  <a:pos x="448" y="168"/>
                </a:cxn>
                <a:cxn ang="0">
                  <a:pos x="304" y="74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4" y="762"/>
                  </a:cubicBezTo>
                  <a:cubicBezTo>
                    <a:pt x="101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6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6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97" name="Freeform 63"/>
            <p:cNvSpPr>
              <a:spLocks/>
            </p:cNvSpPr>
            <p:nvPr userDrawn="1"/>
          </p:nvSpPr>
          <p:spPr bwMode="gray">
            <a:xfrm>
              <a:off x="8132446" y="773113"/>
              <a:ext cx="26988" cy="66675"/>
            </a:xfrm>
            <a:custGeom>
              <a:avLst/>
              <a:gdLst/>
              <a:ahLst/>
              <a:cxnLst>
                <a:cxn ang="0">
                  <a:pos x="0" y="742"/>
                </a:cxn>
                <a:cxn ang="0">
                  <a:pos x="0" y="31"/>
                </a:cxn>
                <a:cxn ang="0">
                  <a:pos x="312" y="0"/>
                </a:cxn>
                <a:cxn ang="0">
                  <a:pos x="312" y="77"/>
                </a:cxn>
                <a:cxn ang="0">
                  <a:pos x="124" y="90"/>
                </a:cxn>
                <a:cxn ang="0">
                  <a:pos x="124" y="742"/>
                </a:cxn>
                <a:cxn ang="0">
                  <a:pos x="0" y="742"/>
                </a:cxn>
              </a:cxnLst>
              <a:rect l="0" t="0" r="r" b="b"/>
              <a:pathLst>
                <a:path w="312" h="742">
                  <a:moveTo>
                    <a:pt x="0" y="742"/>
                  </a:moveTo>
                  <a:cubicBezTo>
                    <a:pt x="0" y="31"/>
                    <a:pt x="0" y="31"/>
                    <a:pt x="0" y="31"/>
                  </a:cubicBezTo>
                  <a:cubicBezTo>
                    <a:pt x="94" y="11"/>
                    <a:pt x="198" y="1"/>
                    <a:pt x="312" y="0"/>
                  </a:cubicBezTo>
                  <a:cubicBezTo>
                    <a:pt x="312" y="77"/>
                    <a:pt x="312" y="77"/>
                    <a:pt x="312" y="77"/>
                  </a:cubicBezTo>
                  <a:cubicBezTo>
                    <a:pt x="243" y="78"/>
                    <a:pt x="180" y="82"/>
                    <a:pt x="124" y="90"/>
                  </a:cubicBezTo>
                  <a:cubicBezTo>
                    <a:pt x="124" y="742"/>
                    <a:pt x="124" y="742"/>
                    <a:pt x="124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98" name="Freeform 64"/>
            <p:cNvSpPr>
              <a:spLocks/>
            </p:cNvSpPr>
            <p:nvPr userDrawn="1"/>
          </p:nvSpPr>
          <p:spPr bwMode="gray">
            <a:xfrm>
              <a:off x="8172133" y="773113"/>
              <a:ext cx="26988" cy="66675"/>
            </a:xfrm>
            <a:custGeom>
              <a:avLst/>
              <a:gdLst/>
              <a:ahLst/>
              <a:cxnLst>
                <a:cxn ang="0">
                  <a:pos x="0" y="742"/>
                </a:cxn>
                <a:cxn ang="0">
                  <a:pos x="0" y="31"/>
                </a:cxn>
                <a:cxn ang="0">
                  <a:pos x="312" y="0"/>
                </a:cxn>
                <a:cxn ang="0">
                  <a:pos x="312" y="77"/>
                </a:cxn>
                <a:cxn ang="0">
                  <a:pos x="124" y="90"/>
                </a:cxn>
                <a:cxn ang="0">
                  <a:pos x="124" y="742"/>
                </a:cxn>
                <a:cxn ang="0">
                  <a:pos x="0" y="742"/>
                </a:cxn>
              </a:cxnLst>
              <a:rect l="0" t="0" r="r" b="b"/>
              <a:pathLst>
                <a:path w="312" h="742">
                  <a:moveTo>
                    <a:pt x="0" y="742"/>
                  </a:moveTo>
                  <a:cubicBezTo>
                    <a:pt x="0" y="31"/>
                    <a:pt x="0" y="31"/>
                    <a:pt x="0" y="31"/>
                  </a:cubicBezTo>
                  <a:cubicBezTo>
                    <a:pt x="94" y="11"/>
                    <a:pt x="198" y="1"/>
                    <a:pt x="312" y="0"/>
                  </a:cubicBezTo>
                  <a:cubicBezTo>
                    <a:pt x="312" y="77"/>
                    <a:pt x="312" y="77"/>
                    <a:pt x="312" y="77"/>
                  </a:cubicBezTo>
                  <a:cubicBezTo>
                    <a:pt x="243" y="78"/>
                    <a:pt x="180" y="82"/>
                    <a:pt x="124" y="90"/>
                  </a:cubicBezTo>
                  <a:cubicBezTo>
                    <a:pt x="124" y="742"/>
                    <a:pt x="124" y="742"/>
                    <a:pt x="124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99" name="Freeform 65"/>
            <p:cNvSpPr>
              <a:spLocks noEditPoints="1"/>
            </p:cNvSpPr>
            <p:nvPr userDrawn="1"/>
          </p:nvSpPr>
          <p:spPr bwMode="gray">
            <a:xfrm>
              <a:off x="8207058" y="773113"/>
              <a:ext cx="53975" cy="68263"/>
            </a:xfrm>
            <a:custGeom>
              <a:avLst/>
              <a:gdLst/>
              <a:ahLst/>
              <a:cxnLst>
                <a:cxn ang="0">
                  <a:pos x="304" y="0"/>
                </a:cxn>
                <a:cxn ang="0">
                  <a:pos x="534" y="103"/>
                </a:cxn>
                <a:cxn ang="0">
                  <a:pos x="607" y="381"/>
                </a:cxn>
                <a:cxn ang="0">
                  <a:pos x="534" y="659"/>
                </a:cxn>
                <a:cxn ang="0">
                  <a:pos x="305" y="762"/>
                </a:cxn>
                <a:cxn ang="0">
                  <a:pos x="0" y="375"/>
                </a:cxn>
                <a:cxn ang="0">
                  <a:pos x="73" y="103"/>
                </a:cxn>
                <a:cxn ang="0">
                  <a:pos x="304" y="0"/>
                </a:cxn>
                <a:cxn ang="0">
                  <a:pos x="304" y="74"/>
                </a:cxn>
                <a:cxn ang="0">
                  <a:pos x="159" y="168"/>
                </a:cxn>
                <a:cxn ang="0">
                  <a:pos x="126" y="377"/>
                </a:cxn>
                <a:cxn ang="0">
                  <a:pos x="159" y="593"/>
                </a:cxn>
                <a:cxn ang="0">
                  <a:pos x="304" y="687"/>
                </a:cxn>
                <a:cxn ang="0">
                  <a:pos x="448" y="593"/>
                </a:cxn>
                <a:cxn ang="0">
                  <a:pos x="481" y="380"/>
                </a:cxn>
                <a:cxn ang="0">
                  <a:pos x="448" y="168"/>
                </a:cxn>
                <a:cxn ang="0">
                  <a:pos x="304" y="74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5" y="762"/>
                  </a:cubicBezTo>
                  <a:cubicBezTo>
                    <a:pt x="102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6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6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100" name="Freeform 66"/>
            <p:cNvSpPr>
              <a:spLocks/>
            </p:cNvSpPr>
            <p:nvPr userDrawn="1"/>
          </p:nvSpPr>
          <p:spPr bwMode="gray">
            <a:xfrm>
              <a:off x="8267383" y="774700"/>
              <a:ext cx="82550" cy="65088"/>
            </a:xfrm>
            <a:custGeom>
              <a:avLst/>
              <a:gdLst/>
              <a:ahLst/>
              <a:cxnLst>
                <a:cxn ang="0">
                  <a:pos x="204" y="722"/>
                </a:cxn>
                <a:cxn ang="0">
                  <a:pos x="0" y="0"/>
                </a:cxn>
                <a:cxn ang="0">
                  <a:pos x="124" y="0"/>
                </a:cxn>
                <a:cxn ang="0">
                  <a:pos x="277" y="588"/>
                </a:cxn>
                <a:cxn ang="0">
                  <a:pos x="412" y="0"/>
                </a:cxn>
                <a:cxn ang="0">
                  <a:pos x="534" y="0"/>
                </a:cxn>
                <a:cxn ang="0">
                  <a:pos x="676" y="588"/>
                </a:cxn>
                <a:cxn ang="0">
                  <a:pos x="828" y="0"/>
                </a:cxn>
                <a:cxn ang="0">
                  <a:pos x="929" y="0"/>
                </a:cxn>
                <a:cxn ang="0">
                  <a:pos x="726" y="722"/>
                </a:cxn>
                <a:cxn ang="0">
                  <a:pos x="603" y="722"/>
                </a:cxn>
                <a:cxn ang="0">
                  <a:pos x="495" y="255"/>
                </a:cxn>
                <a:cxn ang="0">
                  <a:pos x="468" y="107"/>
                </a:cxn>
                <a:cxn ang="0">
                  <a:pos x="440" y="254"/>
                </a:cxn>
                <a:cxn ang="0">
                  <a:pos x="332" y="722"/>
                </a:cxn>
                <a:cxn ang="0">
                  <a:pos x="204" y="722"/>
                </a:cxn>
              </a:cxnLst>
              <a:rect l="0" t="0" r="r" b="b"/>
              <a:pathLst>
                <a:path w="929" h="722">
                  <a:moveTo>
                    <a:pt x="204" y="722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277" y="588"/>
                    <a:pt x="277" y="588"/>
                    <a:pt x="277" y="588"/>
                  </a:cubicBezTo>
                  <a:cubicBezTo>
                    <a:pt x="412" y="0"/>
                    <a:pt x="412" y="0"/>
                    <a:pt x="412" y="0"/>
                  </a:cubicBezTo>
                  <a:cubicBezTo>
                    <a:pt x="534" y="0"/>
                    <a:pt x="534" y="0"/>
                    <a:pt x="534" y="0"/>
                  </a:cubicBezTo>
                  <a:cubicBezTo>
                    <a:pt x="676" y="588"/>
                    <a:pt x="676" y="588"/>
                    <a:pt x="676" y="588"/>
                  </a:cubicBezTo>
                  <a:cubicBezTo>
                    <a:pt x="828" y="0"/>
                    <a:pt x="828" y="0"/>
                    <a:pt x="828" y="0"/>
                  </a:cubicBezTo>
                  <a:cubicBezTo>
                    <a:pt x="929" y="0"/>
                    <a:pt x="929" y="0"/>
                    <a:pt x="929" y="0"/>
                  </a:cubicBezTo>
                  <a:cubicBezTo>
                    <a:pt x="726" y="722"/>
                    <a:pt x="726" y="722"/>
                    <a:pt x="726" y="722"/>
                  </a:cubicBezTo>
                  <a:cubicBezTo>
                    <a:pt x="603" y="722"/>
                    <a:pt x="603" y="722"/>
                    <a:pt x="603" y="722"/>
                  </a:cubicBezTo>
                  <a:cubicBezTo>
                    <a:pt x="495" y="255"/>
                    <a:pt x="495" y="255"/>
                    <a:pt x="495" y="255"/>
                  </a:cubicBezTo>
                  <a:cubicBezTo>
                    <a:pt x="487" y="221"/>
                    <a:pt x="478" y="172"/>
                    <a:pt x="468" y="107"/>
                  </a:cubicBezTo>
                  <a:cubicBezTo>
                    <a:pt x="460" y="159"/>
                    <a:pt x="451" y="208"/>
                    <a:pt x="440" y="254"/>
                  </a:cubicBezTo>
                  <a:cubicBezTo>
                    <a:pt x="332" y="722"/>
                    <a:pt x="332" y="722"/>
                    <a:pt x="332" y="722"/>
                  </a:cubicBezTo>
                  <a:lnTo>
                    <a:pt x="204" y="72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101" name="Freeform 67"/>
            <p:cNvSpPr>
              <a:spLocks/>
            </p:cNvSpPr>
            <p:nvPr userDrawn="1"/>
          </p:nvSpPr>
          <p:spPr bwMode="gray">
            <a:xfrm>
              <a:off x="8381683" y="774700"/>
              <a:ext cx="82550" cy="65088"/>
            </a:xfrm>
            <a:custGeom>
              <a:avLst/>
              <a:gdLst/>
              <a:ahLst/>
              <a:cxnLst>
                <a:cxn ang="0">
                  <a:pos x="204" y="722"/>
                </a:cxn>
                <a:cxn ang="0">
                  <a:pos x="0" y="0"/>
                </a:cxn>
                <a:cxn ang="0">
                  <a:pos x="125" y="0"/>
                </a:cxn>
                <a:cxn ang="0">
                  <a:pos x="277" y="588"/>
                </a:cxn>
                <a:cxn ang="0">
                  <a:pos x="412" y="0"/>
                </a:cxn>
                <a:cxn ang="0">
                  <a:pos x="535" y="0"/>
                </a:cxn>
                <a:cxn ang="0">
                  <a:pos x="676" y="588"/>
                </a:cxn>
                <a:cxn ang="0">
                  <a:pos x="829" y="0"/>
                </a:cxn>
                <a:cxn ang="0">
                  <a:pos x="930" y="0"/>
                </a:cxn>
                <a:cxn ang="0">
                  <a:pos x="726" y="722"/>
                </a:cxn>
                <a:cxn ang="0">
                  <a:pos x="604" y="722"/>
                </a:cxn>
                <a:cxn ang="0">
                  <a:pos x="495" y="255"/>
                </a:cxn>
                <a:cxn ang="0">
                  <a:pos x="468" y="107"/>
                </a:cxn>
                <a:cxn ang="0">
                  <a:pos x="441" y="254"/>
                </a:cxn>
                <a:cxn ang="0">
                  <a:pos x="332" y="722"/>
                </a:cxn>
                <a:cxn ang="0">
                  <a:pos x="204" y="722"/>
                </a:cxn>
              </a:cxnLst>
              <a:rect l="0" t="0" r="r" b="b"/>
              <a:pathLst>
                <a:path w="930" h="722">
                  <a:moveTo>
                    <a:pt x="204" y="722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277" y="588"/>
                    <a:pt x="277" y="588"/>
                    <a:pt x="277" y="588"/>
                  </a:cubicBezTo>
                  <a:cubicBezTo>
                    <a:pt x="412" y="0"/>
                    <a:pt x="412" y="0"/>
                    <a:pt x="412" y="0"/>
                  </a:cubicBezTo>
                  <a:cubicBezTo>
                    <a:pt x="535" y="0"/>
                    <a:pt x="535" y="0"/>
                    <a:pt x="535" y="0"/>
                  </a:cubicBezTo>
                  <a:cubicBezTo>
                    <a:pt x="676" y="588"/>
                    <a:pt x="676" y="588"/>
                    <a:pt x="676" y="588"/>
                  </a:cubicBezTo>
                  <a:cubicBezTo>
                    <a:pt x="829" y="0"/>
                    <a:pt x="829" y="0"/>
                    <a:pt x="829" y="0"/>
                  </a:cubicBezTo>
                  <a:cubicBezTo>
                    <a:pt x="930" y="0"/>
                    <a:pt x="930" y="0"/>
                    <a:pt x="930" y="0"/>
                  </a:cubicBezTo>
                  <a:cubicBezTo>
                    <a:pt x="726" y="722"/>
                    <a:pt x="726" y="722"/>
                    <a:pt x="726" y="722"/>
                  </a:cubicBezTo>
                  <a:cubicBezTo>
                    <a:pt x="604" y="722"/>
                    <a:pt x="604" y="722"/>
                    <a:pt x="604" y="722"/>
                  </a:cubicBezTo>
                  <a:cubicBezTo>
                    <a:pt x="495" y="255"/>
                    <a:pt x="495" y="255"/>
                    <a:pt x="495" y="255"/>
                  </a:cubicBezTo>
                  <a:cubicBezTo>
                    <a:pt x="488" y="221"/>
                    <a:pt x="479" y="172"/>
                    <a:pt x="468" y="107"/>
                  </a:cubicBezTo>
                  <a:cubicBezTo>
                    <a:pt x="460" y="159"/>
                    <a:pt x="451" y="208"/>
                    <a:pt x="441" y="254"/>
                  </a:cubicBezTo>
                  <a:cubicBezTo>
                    <a:pt x="332" y="722"/>
                    <a:pt x="332" y="722"/>
                    <a:pt x="332" y="722"/>
                  </a:cubicBezTo>
                  <a:lnTo>
                    <a:pt x="204" y="72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102" name="Freeform 68"/>
            <p:cNvSpPr>
              <a:spLocks noEditPoints="1"/>
            </p:cNvSpPr>
            <p:nvPr userDrawn="1"/>
          </p:nvSpPr>
          <p:spPr bwMode="gray">
            <a:xfrm>
              <a:off x="8475346" y="752475"/>
              <a:ext cx="14288" cy="87313"/>
            </a:xfrm>
            <a:custGeom>
              <a:avLst/>
              <a:gdLst/>
              <a:ahLst/>
              <a:cxnLst>
                <a:cxn ang="0">
                  <a:pos x="76" y="0"/>
                </a:cxn>
                <a:cxn ang="0">
                  <a:pos x="132" y="25"/>
                </a:cxn>
                <a:cxn ang="0">
                  <a:pos x="151" y="76"/>
                </a:cxn>
                <a:cxn ang="0">
                  <a:pos x="126" y="132"/>
                </a:cxn>
                <a:cxn ang="0">
                  <a:pos x="75" y="151"/>
                </a:cxn>
                <a:cxn ang="0">
                  <a:pos x="20" y="127"/>
                </a:cxn>
                <a:cxn ang="0">
                  <a:pos x="0" y="75"/>
                </a:cxn>
                <a:cxn ang="0">
                  <a:pos x="25" y="20"/>
                </a:cxn>
                <a:cxn ang="0">
                  <a:pos x="76" y="0"/>
                </a:cxn>
                <a:cxn ang="0">
                  <a:pos x="15" y="987"/>
                </a:cxn>
                <a:cxn ang="0">
                  <a:pos x="15" y="265"/>
                </a:cxn>
                <a:cxn ang="0">
                  <a:pos x="139" y="265"/>
                </a:cxn>
                <a:cxn ang="0">
                  <a:pos x="139" y="987"/>
                </a:cxn>
                <a:cxn ang="0">
                  <a:pos x="15" y="987"/>
                </a:cxn>
              </a:cxnLst>
              <a:rect l="0" t="0" r="r" b="b"/>
              <a:pathLst>
                <a:path w="151" h="987">
                  <a:moveTo>
                    <a:pt x="76" y="0"/>
                  </a:moveTo>
                  <a:cubicBezTo>
                    <a:pt x="98" y="0"/>
                    <a:pt x="117" y="9"/>
                    <a:pt x="132" y="25"/>
                  </a:cubicBezTo>
                  <a:cubicBezTo>
                    <a:pt x="145" y="40"/>
                    <a:pt x="151" y="57"/>
                    <a:pt x="151" y="76"/>
                  </a:cubicBezTo>
                  <a:cubicBezTo>
                    <a:pt x="151" y="98"/>
                    <a:pt x="143" y="117"/>
                    <a:pt x="126" y="132"/>
                  </a:cubicBezTo>
                  <a:cubicBezTo>
                    <a:pt x="112" y="145"/>
                    <a:pt x="95" y="151"/>
                    <a:pt x="75" y="151"/>
                  </a:cubicBezTo>
                  <a:cubicBezTo>
                    <a:pt x="53" y="151"/>
                    <a:pt x="34" y="143"/>
                    <a:pt x="20" y="127"/>
                  </a:cubicBezTo>
                  <a:cubicBezTo>
                    <a:pt x="7" y="112"/>
                    <a:pt x="0" y="95"/>
                    <a:pt x="0" y="75"/>
                  </a:cubicBezTo>
                  <a:cubicBezTo>
                    <a:pt x="0" y="53"/>
                    <a:pt x="9" y="35"/>
                    <a:pt x="25" y="20"/>
                  </a:cubicBezTo>
                  <a:cubicBezTo>
                    <a:pt x="39" y="7"/>
                    <a:pt x="56" y="0"/>
                    <a:pt x="76" y="0"/>
                  </a:cubicBezTo>
                  <a:close/>
                  <a:moveTo>
                    <a:pt x="15" y="987"/>
                  </a:moveTo>
                  <a:cubicBezTo>
                    <a:pt x="15" y="265"/>
                    <a:pt x="15" y="265"/>
                    <a:pt x="15" y="265"/>
                  </a:cubicBezTo>
                  <a:cubicBezTo>
                    <a:pt x="139" y="265"/>
                    <a:pt x="139" y="265"/>
                    <a:pt x="139" y="265"/>
                  </a:cubicBezTo>
                  <a:cubicBezTo>
                    <a:pt x="139" y="987"/>
                    <a:pt x="139" y="987"/>
                    <a:pt x="139" y="987"/>
                  </a:cubicBezTo>
                  <a:lnTo>
                    <a:pt x="15" y="9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103" name="Freeform 69"/>
            <p:cNvSpPr>
              <a:spLocks/>
            </p:cNvSpPr>
            <p:nvPr userDrawn="1"/>
          </p:nvSpPr>
          <p:spPr bwMode="gray">
            <a:xfrm>
              <a:off x="8508683" y="758825"/>
              <a:ext cx="28575" cy="8096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4" y="0"/>
                </a:cxn>
                <a:cxn ang="0">
                  <a:pos x="124" y="195"/>
                </a:cxn>
                <a:cxn ang="0">
                  <a:pos x="318" y="195"/>
                </a:cxn>
                <a:cxn ang="0">
                  <a:pos x="318" y="273"/>
                </a:cxn>
                <a:cxn ang="0">
                  <a:pos x="124" y="273"/>
                </a:cxn>
                <a:cxn ang="0">
                  <a:pos x="124" y="656"/>
                </a:cxn>
                <a:cxn ang="0">
                  <a:pos x="156" y="804"/>
                </a:cxn>
                <a:cxn ang="0">
                  <a:pos x="225" y="836"/>
                </a:cxn>
                <a:cxn ang="0">
                  <a:pos x="277" y="838"/>
                </a:cxn>
                <a:cxn ang="0">
                  <a:pos x="318" y="838"/>
                </a:cxn>
                <a:cxn ang="0">
                  <a:pos x="318" y="917"/>
                </a:cxn>
                <a:cxn ang="0">
                  <a:pos x="251" y="917"/>
                </a:cxn>
                <a:cxn ang="0">
                  <a:pos x="127" y="904"/>
                </a:cxn>
                <a:cxn ang="0">
                  <a:pos x="11" y="782"/>
                </a:cxn>
                <a:cxn ang="0">
                  <a:pos x="0" y="638"/>
                </a:cxn>
                <a:cxn ang="0">
                  <a:pos x="0" y="0"/>
                </a:cxn>
              </a:cxnLst>
              <a:rect l="0" t="0" r="r" b="b"/>
              <a:pathLst>
                <a:path w="318" h="917">
                  <a:moveTo>
                    <a:pt x="0" y="0"/>
                  </a:moveTo>
                  <a:cubicBezTo>
                    <a:pt x="124" y="0"/>
                    <a:pt x="124" y="0"/>
                    <a:pt x="124" y="0"/>
                  </a:cubicBezTo>
                  <a:cubicBezTo>
                    <a:pt x="124" y="195"/>
                    <a:pt x="124" y="195"/>
                    <a:pt x="124" y="195"/>
                  </a:cubicBezTo>
                  <a:cubicBezTo>
                    <a:pt x="318" y="195"/>
                    <a:pt x="318" y="195"/>
                    <a:pt x="318" y="195"/>
                  </a:cubicBezTo>
                  <a:cubicBezTo>
                    <a:pt x="318" y="273"/>
                    <a:pt x="318" y="273"/>
                    <a:pt x="318" y="273"/>
                  </a:cubicBezTo>
                  <a:cubicBezTo>
                    <a:pt x="124" y="273"/>
                    <a:pt x="124" y="273"/>
                    <a:pt x="124" y="273"/>
                  </a:cubicBezTo>
                  <a:cubicBezTo>
                    <a:pt x="124" y="656"/>
                    <a:pt x="124" y="656"/>
                    <a:pt x="124" y="656"/>
                  </a:cubicBezTo>
                  <a:cubicBezTo>
                    <a:pt x="124" y="729"/>
                    <a:pt x="135" y="778"/>
                    <a:pt x="156" y="804"/>
                  </a:cubicBezTo>
                  <a:cubicBezTo>
                    <a:pt x="171" y="821"/>
                    <a:pt x="194" y="832"/>
                    <a:pt x="225" y="836"/>
                  </a:cubicBezTo>
                  <a:cubicBezTo>
                    <a:pt x="235" y="837"/>
                    <a:pt x="252" y="838"/>
                    <a:pt x="277" y="838"/>
                  </a:cubicBezTo>
                  <a:cubicBezTo>
                    <a:pt x="318" y="838"/>
                    <a:pt x="318" y="838"/>
                    <a:pt x="318" y="838"/>
                  </a:cubicBezTo>
                  <a:cubicBezTo>
                    <a:pt x="318" y="917"/>
                    <a:pt x="318" y="917"/>
                    <a:pt x="318" y="917"/>
                  </a:cubicBezTo>
                  <a:cubicBezTo>
                    <a:pt x="251" y="917"/>
                    <a:pt x="251" y="917"/>
                    <a:pt x="251" y="917"/>
                  </a:cubicBezTo>
                  <a:cubicBezTo>
                    <a:pt x="198" y="917"/>
                    <a:pt x="157" y="913"/>
                    <a:pt x="127" y="904"/>
                  </a:cubicBezTo>
                  <a:cubicBezTo>
                    <a:pt x="64" y="887"/>
                    <a:pt x="25" y="846"/>
                    <a:pt x="11" y="782"/>
                  </a:cubicBezTo>
                  <a:cubicBezTo>
                    <a:pt x="4" y="747"/>
                    <a:pt x="0" y="699"/>
                    <a:pt x="0" y="638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104" name="Freeform 70"/>
            <p:cNvSpPr>
              <a:spLocks/>
            </p:cNvSpPr>
            <p:nvPr userDrawn="1"/>
          </p:nvSpPr>
          <p:spPr bwMode="gray">
            <a:xfrm>
              <a:off x="8549958" y="742950"/>
              <a:ext cx="49213" cy="96838"/>
            </a:xfrm>
            <a:custGeom>
              <a:avLst/>
              <a:gdLst/>
              <a:ahLst/>
              <a:cxnLst>
                <a:cxn ang="0">
                  <a:pos x="0" y="1087"/>
                </a:cxn>
                <a:cxn ang="0">
                  <a:pos x="0" y="0"/>
                </a:cxn>
                <a:cxn ang="0">
                  <a:pos x="124" y="0"/>
                </a:cxn>
                <a:cxn ang="0">
                  <a:pos x="124" y="382"/>
                </a:cxn>
                <a:cxn ang="0">
                  <a:pos x="306" y="345"/>
                </a:cxn>
                <a:cxn ang="0">
                  <a:pos x="526" y="458"/>
                </a:cxn>
                <a:cxn ang="0">
                  <a:pos x="548" y="644"/>
                </a:cxn>
                <a:cxn ang="0">
                  <a:pos x="548" y="1087"/>
                </a:cxn>
                <a:cxn ang="0">
                  <a:pos x="425" y="1087"/>
                </a:cxn>
                <a:cxn ang="0">
                  <a:pos x="425" y="624"/>
                </a:cxn>
                <a:cxn ang="0">
                  <a:pos x="403" y="477"/>
                </a:cxn>
                <a:cxn ang="0">
                  <a:pos x="294" y="419"/>
                </a:cxn>
                <a:cxn ang="0">
                  <a:pos x="124" y="463"/>
                </a:cxn>
                <a:cxn ang="0">
                  <a:pos x="124" y="1087"/>
                </a:cxn>
                <a:cxn ang="0">
                  <a:pos x="0" y="1087"/>
                </a:cxn>
              </a:cxnLst>
              <a:rect l="0" t="0" r="r" b="b"/>
              <a:pathLst>
                <a:path w="548" h="1087">
                  <a:moveTo>
                    <a:pt x="0" y="108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24" y="382"/>
                    <a:pt x="124" y="382"/>
                    <a:pt x="124" y="382"/>
                  </a:cubicBezTo>
                  <a:cubicBezTo>
                    <a:pt x="188" y="357"/>
                    <a:pt x="249" y="345"/>
                    <a:pt x="306" y="345"/>
                  </a:cubicBezTo>
                  <a:cubicBezTo>
                    <a:pt x="420" y="345"/>
                    <a:pt x="493" y="382"/>
                    <a:pt x="526" y="458"/>
                  </a:cubicBezTo>
                  <a:cubicBezTo>
                    <a:pt x="541" y="492"/>
                    <a:pt x="548" y="554"/>
                    <a:pt x="548" y="644"/>
                  </a:cubicBezTo>
                  <a:cubicBezTo>
                    <a:pt x="548" y="1087"/>
                    <a:pt x="548" y="1087"/>
                    <a:pt x="548" y="1087"/>
                  </a:cubicBezTo>
                  <a:cubicBezTo>
                    <a:pt x="425" y="1087"/>
                    <a:pt x="425" y="1087"/>
                    <a:pt x="425" y="1087"/>
                  </a:cubicBezTo>
                  <a:cubicBezTo>
                    <a:pt x="425" y="624"/>
                    <a:pt x="425" y="624"/>
                    <a:pt x="425" y="624"/>
                  </a:cubicBezTo>
                  <a:cubicBezTo>
                    <a:pt x="425" y="555"/>
                    <a:pt x="418" y="506"/>
                    <a:pt x="403" y="477"/>
                  </a:cubicBezTo>
                  <a:cubicBezTo>
                    <a:pt x="384" y="439"/>
                    <a:pt x="347" y="419"/>
                    <a:pt x="294" y="419"/>
                  </a:cubicBezTo>
                  <a:cubicBezTo>
                    <a:pt x="245" y="419"/>
                    <a:pt x="189" y="434"/>
                    <a:pt x="124" y="463"/>
                  </a:cubicBezTo>
                  <a:cubicBezTo>
                    <a:pt x="124" y="1087"/>
                    <a:pt x="124" y="1087"/>
                    <a:pt x="124" y="1087"/>
                  </a:cubicBezTo>
                  <a:lnTo>
                    <a:pt x="0" y="10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105" name="Freeform 71"/>
            <p:cNvSpPr>
              <a:spLocks/>
            </p:cNvSpPr>
            <p:nvPr userDrawn="1"/>
          </p:nvSpPr>
          <p:spPr bwMode="gray">
            <a:xfrm>
              <a:off x="8638858" y="774700"/>
              <a:ext cx="53975" cy="95250"/>
            </a:xfrm>
            <a:custGeom>
              <a:avLst/>
              <a:gdLst/>
              <a:ahLst/>
              <a:cxnLst>
                <a:cxn ang="0">
                  <a:pos x="15" y="41"/>
                </a:cxn>
                <a:cxn ang="0">
                  <a:pos x="0" y="0"/>
                </a:cxn>
                <a:cxn ang="0">
                  <a:pos x="7" y="0"/>
                </a:cxn>
                <a:cxn ang="0">
                  <a:pos x="18" y="33"/>
                </a:cxn>
                <a:cxn ang="0">
                  <a:pos x="28" y="0"/>
                </a:cxn>
                <a:cxn ang="0">
                  <a:pos x="34" y="0"/>
                </a:cxn>
                <a:cxn ang="0">
                  <a:pos x="14" y="60"/>
                </a:cxn>
                <a:cxn ang="0">
                  <a:pos x="8" y="60"/>
                </a:cxn>
                <a:cxn ang="0">
                  <a:pos x="15" y="41"/>
                </a:cxn>
              </a:cxnLst>
              <a:rect l="0" t="0" r="r" b="b"/>
              <a:pathLst>
                <a:path w="34" h="60">
                  <a:moveTo>
                    <a:pt x="15" y="41"/>
                  </a:moveTo>
                  <a:lnTo>
                    <a:pt x="0" y="0"/>
                  </a:lnTo>
                  <a:lnTo>
                    <a:pt x="7" y="0"/>
                  </a:lnTo>
                  <a:lnTo>
                    <a:pt x="18" y="33"/>
                  </a:lnTo>
                  <a:lnTo>
                    <a:pt x="28" y="0"/>
                  </a:lnTo>
                  <a:lnTo>
                    <a:pt x="34" y="0"/>
                  </a:lnTo>
                  <a:lnTo>
                    <a:pt x="14" y="60"/>
                  </a:lnTo>
                  <a:lnTo>
                    <a:pt x="8" y="60"/>
                  </a:lnTo>
                  <a:lnTo>
                    <a:pt x="15" y="4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106" name="Freeform 72"/>
            <p:cNvSpPr>
              <a:spLocks noEditPoints="1"/>
            </p:cNvSpPr>
            <p:nvPr userDrawn="1"/>
          </p:nvSpPr>
          <p:spPr bwMode="gray">
            <a:xfrm>
              <a:off x="8699183" y="773113"/>
              <a:ext cx="53975" cy="68263"/>
            </a:xfrm>
            <a:custGeom>
              <a:avLst/>
              <a:gdLst/>
              <a:ahLst/>
              <a:cxnLst>
                <a:cxn ang="0">
                  <a:pos x="304" y="0"/>
                </a:cxn>
                <a:cxn ang="0">
                  <a:pos x="534" y="103"/>
                </a:cxn>
                <a:cxn ang="0">
                  <a:pos x="607" y="381"/>
                </a:cxn>
                <a:cxn ang="0">
                  <a:pos x="534" y="659"/>
                </a:cxn>
                <a:cxn ang="0">
                  <a:pos x="304" y="762"/>
                </a:cxn>
                <a:cxn ang="0">
                  <a:pos x="0" y="375"/>
                </a:cxn>
                <a:cxn ang="0">
                  <a:pos x="73" y="103"/>
                </a:cxn>
                <a:cxn ang="0">
                  <a:pos x="304" y="0"/>
                </a:cxn>
                <a:cxn ang="0">
                  <a:pos x="304" y="74"/>
                </a:cxn>
                <a:cxn ang="0">
                  <a:pos x="159" y="168"/>
                </a:cxn>
                <a:cxn ang="0">
                  <a:pos x="126" y="377"/>
                </a:cxn>
                <a:cxn ang="0">
                  <a:pos x="159" y="593"/>
                </a:cxn>
                <a:cxn ang="0">
                  <a:pos x="304" y="687"/>
                </a:cxn>
                <a:cxn ang="0">
                  <a:pos x="448" y="593"/>
                </a:cxn>
                <a:cxn ang="0">
                  <a:pos x="481" y="380"/>
                </a:cxn>
                <a:cxn ang="0">
                  <a:pos x="448" y="168"/>
                </a:cxn>
                <a:cxn ang="0">
                  <a:pos x="304" y="74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4" y="762"/>
                  </a:cubicBezTo>
                  <a:cubicBezTo>
                    <a:pt x="101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5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5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107" name="Freeform 73"/>
            <p:cNvSpPr>
              <a:spLocks/>
            </p:cNvSpPr>
            <p:nvPr userDrawn="1"/>
          </p:nvSpPr>
          <p:spPr bwMode="gray">
            <a:xfrm>
              <a:off x="8769033" y="774700"/>
              <a:ext cx="46038" cy="666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3" y="0"/>
                </a:cxn>
                <a:cxn ang="0">
                  <a:pos x="123" y="445"/>
                </a:cxn>
                <a:cxn ang="0">
                  <a:pos x="145" y="609"/>
                </a:cxn>
                <a:cxn ang="0">
                  <a:pos x="197" y="656"/>
                </a:cxn>
                <a:cxn ang="0">
                  <a:pos x="276" y="667"/>
                </a:cxn>
                <a:cxn ang="0">
                  <a:pos x="403" y="648"/>
                </a:cxn>
                <a:cxn ang="0">
                  <a:pos x="403" y="0"/>
                </a:cxn>
                <a:cxn ang="0">
                  <a:pos x="527" y="0"/>
                </a:cxn>
                <a:cxn ang="0">
                  <a:pos x="527" y="710"/>
                </a:cxn>
                <a:cxn ang="0">
                  <a:pos x="269" y="742"/>
                </a:cxn>
                <a:cxn ang="0">
                  <a:pos x="86" y="703"/>
                </a:cxn>
                <a:cxn ang="0">
                  <a:pos x="6" y="567"/>
                </a:cxn>
                <a:cxn ang="0">
                  <a:pos x="0" y="454"/>
                </a:cxn>
                <a:cxn ang="0">
                  <a:pos x="0" y="0"/>
                </a:cxn>
              </a:cxnLst>
              <a:rect l="0" t="0" r="r" b="b"/>
              <a:pathLst>
                <a:path w="527" h="742">
                  <a:moveTo>
                    <a:pt x="0" y="0"/>
                  </a:moveTo>
                  <a:cubicBezTo>
                    <a:pt x="123" y="0"/>
                    <a:pt x="123" y="0"/>
                    <a:pt x="123" y="0"/>
                  </a:cubicBezTo>
                  <a:cubicBezTo>
                    <a:pt x="123" y="445"/>
                    <a:pt x="123" y="445"/>
                    <a:pt x="123" y="445"/>
                  </a:cubicBezTo>
                  <a:cubicBezTo>
                    <a:pt x="123" y="527"/>
                    <a:pt x="131" y="582"/>
                    <a:pt x="145" y="609"/>
                  </a:cubicBezTo>
                  <a:cubicBezTo>
                    <a:pt x="157" y="632"/>
                    <a:pt x="174" y="648"/>
                    <a:pt x="197" y="656"/>
                  </a:cubicBezTo>
                  <a:cubicBezTo>
                    <a:pt x="216" y="663"/>
                    <a:pt x="242" y="667"/>
                    <a:pt x="276" y="667"/>
                  </a:cubicBezTo>
                  <a:cubicBezTo>
                    <a:pt x="317" y="667"/>
                    <a:pt x="359" y="661"/>
                    <a:pt x="403" y="648"/>
                  </a:cubicBezTo>
                  <a:cubicBezTo>
                    <a:pt x="403" y="0"/>
                    <a:pt x="403" y="0"/>
                    <a:pt x="403" y="0"/>
                  </a:cubicBezTo>
                  <a:cubicBezTo>
                    <a:pt x="527" y="0"/>
                    <a:pt x="527" y="0"/>
                    <a:pt x="527" y="0"/>
                  </a:cubicBezTo>
                  <a:cubicBezTo>
                    <a:pt x="527" y="710"/>
                    <a:pt x="527" y="710"/>
                    <a:pt x="527" y="710"/>
                  </a:cubicBezTo>
                  <a:cubicBezTo>
                    <a:pt x="435" y="731"/>
                    <a:pt x="349" y="742"/>
                    <a:pt x="269" y="742"/>
                  </a:cubicBezTo>
                  <a:cubicBezTo>
                    <a:pt x="187" y="742"/>
                    <a:pt x="126" y="729"/>
                    <a:pt x="86" y="703"/>
                  </a:cubicBezTo>
                  <a:cubicBezTo>
                    <a:pt x="41" y="674"/>
                    <a:pt x="14" y="629"/>
                    <a:pt x="6" y="567"/>
                  </a:cubicBezTo>
                  <a:cubicBezTo>
                    <a:pt x="2" y="539"/>
                    <a:pt x="0" y="501"/>
                    <a:pt x="0" y="45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grpSp>
          <p:nvGrpSpPr>
            <p:cNvPr id="108" name="Group 129"/>
            <p:cNvGrpSpPr/>
            <p:nvPr userDrawn="1"/>
          </p:nvGrpSpPr>
          <p:grpSpPr bwMode="gray">
            <a:xfrm>
              <a:off x="7792721" y="157163"/>
              <a:ext cx="1038225" cy="504825"/>
              <a:chOff x="7792721" y="157163"/>
              <a:chExt cx="1038225" cy="504825"/>
            </a:xfrm>
          </p:grpSpPr>
          <p:sp>
            <p:nvSpPr>
              <p:cNvPr id="109" name="Freeform 71"/>
              <p:cNvSpPr>
                <a:spLocks/>
              </p:cNvSpPr>
              <p:nvPr userDrawn="1"/>
            </p:nvSpPr>
            <p:spPr bwMode="gray">
              <a:xfrm>
                <a:off x="8135621" y="157163"/>
                <a:ext cx="209550" cy="161925"/>
              </a:xfrm>
              <a:custGeom>
                <a:avLst/>
                <a:gdLst/>
                <a:ahLst/>
                <a:cxnLst>
                  <a:cxn ang="0">
                    <a:pos x="961" y="764"/>
                  </a:cxn>
                  <a:cxn ang="0">
                    <a:pos x="599" y="642"/>
                  </a:cxn>
                  <a:cxn ang="0">
                    <a:pos x="1" y="1235"/>
                  </a:cxn>
                  <a:cxn ang="0">
                    <a:pos x="599" y="1825"/>
                  </a:cxn>
                  <a:cxn ang="0">
                    <a:pos x="1053" y="1619"/>
                  </a:cxn>
                  <a:cxn ang="0">
                    <a:pos x="1053" y="1293"/>
                  </a:cxn>
                  <a:cxn ang="0">
                    <a:pos x="771" y="1568"/>
                  </a:cxn>
                  <a:cxn ang="0">
                    <a:pos x="599" y="1604"/>
                  </a:cxn>
                  <a:cxn ang="0">
                    <a:pos x="225" y="1235"/>
                  </a:cxn>
                  <a:cxn ang="0">
                    <a:pos x="599" y="863"/>
                  </a:cxn>
                  <a:cxn ang="0">
                    <a:pos x="861" y="972"/>
                  </a:cxn>
                  <a:cxn ang="0">
                    <a:pos x="1093" y="1239"/>
                  </a:cxn>
                  <a:cxn ang="0">
                    <a:pos x="1630" y="1473"/>
                  </a:cxn>
                  <a:cxn ang="0">
                    <a:pos x="2365" y="741"/>
                  </a:cxn>
                  <a:cxn ang="0">
                    <a:pos x="1630" y="0"/>
                  </a:cxn>
                  <a:cxn ang="0">
                    <a:pos x="1053" y="295"/>
                  </a:cxn>
                  <a:cxn ang="0">
                    <a:pos x="1053" y="735"/>
                  </a:cxn>
                  <a:cxn ang="0">
                    <a:pos x="1630" y="232"/>
                  </a:cxn>
                  <a:cxn ang="0">
                    <a:pos x="2134" y="741"/>
                  </a:cxn>
                  <a:cxn ang="0">
                    <a:pos x="1630" y="1245"/>
                  </a:cxn>
                  <a:cxn ang="0">
                    <a:pos x="1303" y="1125"/>
                  </a:cxn>
                  <a:cxn ang="0">
                    <a:pos x="961" y="764"/>
                  </a:cxn>
                </a:cxnLst>
                <a:rect l="0" t="0" r="r" b="b"/>
                <a:pathLst>
                  <a:path w="2365" h="1825">
                    <a:moveTo>
                      <a:pt x="961" y="764"/>
                    </a:moveTo>
                    <a:cubicBezTo>
                      <a:pt x="875" y="688"/>
                      <a:pt x="736" y="643"/>
                      <a:pt x="599" y="642"/>
                    </a:cubicBezTo>
                    <a:cubicBezTo>
                      <a:pt x="270" y="641"/>
                      <a:pt x="2" y="900"/>
                      <a:pt x="1" y="1235"/>
                    </a:cubicBezTo>
                    <a:cubicBezTo>
                      <a:pt x="0" y="1563"/>
                      <a:pt x="270" y="1824"/>
                      <a:pt x="599" y="1825"/>
                    </a:cubicBezTo>
                    <a:cubicBezTo>
                      <a:pt x="783" y="1825"/>
                      <a:pt x="943" y="1751"/>
                      <a:pt x="1053" y="1619"/>
                    </a:cubicBezTo>
                    <a:cubicBezTo>
                      <a:pt x="1053" y="1293"/>
                      <a:pt x="1053" y="1293"/>
                      <a:pt x="1053" y="1293"/>
                    </a:cubicBezTo>
                    <a:cubicBezTo>
                      <a:pt x="994" y="1394"/>
                      <a:pt x="877" y="1524"/>
                      <a:pt x="771" y="1568"/>
                    </a:cubicBezTo>
                    <a:cubicBezTo>
                      <a:pt x="717" y="1590"/>
                      <a:pt x="662" y="1604"/>
                      <a:pt x="599" y="1604"/>
                    </a:cubicBezTo>
                    <a:cubicBezTo>
                      <a:pt x="394" y="1604"/>
                      <a:pt x="225" y="1445"/>
                      <a:pt x="225" y="1235"/>
                    </a:cubicBezTo>
                    <a:cubicBezTo>
                      <a:pt x="225" y="1041"/>
                      <a:pt x="380" y="862"/>
                      <a:pt x="599" y="863"/>
                    </a:cubicBezTo>
                    <a:cubicBezTo>
                      <a:pt x="701" y="863"/>
                      <a:pt x="793" y="905"/>
                      <a:pt x="861" y="972"/>
                    </a:cubicBezTo>
                    <a:cubicBezTo>
                      <a:pt x="931" y="1040"/>
                      <a:pt x="1041" y="1183"/>
                      <a:pt x="1093" y="1239"/>
                    </a:cubicBezTo>
                    <a:cubicBezTo>
                      <a:pt x="1227" y="1383"/>
                      <a:pt x="1419" y="1473"/>
                      <a:pt x="1630" y="1473"/>
                    </a:cubicBezTo>
                    <a:cubicBezTo>
                      <a:pt x="2036" y="1474"/>
                      <a:pt x="2365" y="1146"/>
                      <a:pt x="2365" y="741"/>
                    </a:cubicBezTo>
                    <a:cubicBezTo>
                      <a:pt x="2365" y="336"/>
                      <a:pt x="2035" y="0"/>
                      <a:pt x="1630" y="0"/>
                    </a:cubicBezTo>
                    <a:cubicBezTo>
                      <a:pt x="1395" y="0"/>
                      <a:pt x="1187" y="122"/>
                      <a:pt x="1053" y="295"/>
                    </a:cubicBezTo>
                    <a:cubicBezTo>
                      <a:pt x="1053" y="735"/>
                      <a:pt x="1053" y="735"/>
                      <a:pt x="1053" y="735"/>
                    </a:cubicBezTo>
                    <a:cubicBezTo>
                      <a:pt x="1155" y="455"/>
                      <a:pt x="1340" y="232"/>
                      <a:pt x="1630" y="232"/>
                    </a:cubicBezTo>
                    <a:cubicBezTo>
                      <a:pt x="1909" y="232"/>
                      <a:pt x="2135" y="463"/>
                      <a:pt x="2134" y="741"/>
                    </a:cubicBezTo>
                    <a:cubicBezTo>
                      <a:pt x="2134" y="1020"/>
                      <a:pt x="1909" y="1246"/>
                      <a:pt x="1630" y="1245"/>
                    </a:cubicBezTo>
                    <a:cubicBezTo>
                      <a:pt x="1506" y="1244"/>
                      <a:pt x="1391" y="1199"/>
                      <a:pt x="1303" y="1125"/>
                    </a:cubicBezTo>
                    <a:cubicBezTo>
                      <a:pt x="1194" y="1040"/>
                      <a:pt x="1074" y="860"/>
                      <a:pt x="961" y="764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noProof="0" dirty="0"/>
              </a:p>
            </p:txBody>
          </p:sp>
          <p:sp>
            <p:nvSpPr>
              <p:cNvPr id="110" name="Freeform 72"/>
              <p:cNvSpPr>
                <a:spLocks/>
              </p:cNvSpPr>
              <p:nvPr userDrawn="1"/>
            </p:nvSpPr>
            <p:spPr bwMode="gray">
              <a:xfrm>
                <a:off x="7792721" y="333375"/>
                <a:ext cx="144463" cy="23495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624" y="0"/>
                  </a:cxn>
                  <a:cxn ang="0">
                    <a:pos x="1624" y="452"/>
                  </a:cxn>
                  <a:cxn ang="0">
                    <a:pos x="1365" y="273"/>
                  </a:cxn>
                  <a:cxn ang="0">
                    <a:pos x="613" y="273"/>
                  </a:cxn>
                  <a:cxn ang="0">
                    <a:pos x="613" y="1053"/>
                  </a:cxn>
                  <a:cxn ang="0">
                    <a:pos x="1428" y="1053"/>
                  </a:cxn>
                  <a:cxn ang="0">
                    <a:pos x="1428" y="1467"/>
                  </a:cxn>
                  <a:cxn ang="0">
                    <a:pos x="1205" y="1335"/>
                  </a:cxn>
                  <a:cxn ang="0">
                    <a:pos x="613" y="1335"/>
                  </a:cxn>
                  <a:cxn ang="0">
                    <a:pos x="613" y="2401"/>
                  </a:cxn>
                  <a:cxn ang="0">
                    <a:pos x="784" y="2651"/>
                  </a:cxn>
                  <a:cxn ang="0">
                    <a:pos x="11" y="2651"/>
                  </a:cxn>
                  <a:cxn ang="0">
                    <a:pos x="173" y="2401"/>
                  </a:cxn>
                  <a:cxn ang="0">
                    <a:pos x="173" y="278"/>
                  </a:cxn>
                  <a:cxn ang="0">
                    <a:pos x="0" y="0"/>
                  </a:cxn>
                </a:cxnLst>
                <a:rect l="0" t="0" r="r" b="b"/>
                <a:pathLst>
                  <a:path w="1624" h="2651">
                    <a:moveTo>
                      <a:pt x="0" y="0"/>
                    </a:moveTo>
                    <a:cubicBezTo>
                      <a:pt x="1624" y="0"/>
                      <a:pt x="1624" y="0"/>
                      <a:pt x="1624" y="0"/>
                    </a:cubicBezTo>
                    <a:cubicBezTo>
                      <a:pt x="1624" y="452"/>
                      <a:pt x="1624" y="452"/>
                      <a:pt x="1624" y="452"/>
                    </a:cubicBezTo>
                    <a:cubicBezTo>
                      <a:pt x="1624" y="452"/>
                      <a:pt x="1540" y="274"/>
                      <a:pt x="1365" y="273"/>
                    </a:cubicBezTo>
                    <a:cubicBezTo>
                      <a:pt x="613" y="273"/>
                      <a:pt x="613" y="273"/>
                      <a:pt x="613" y="273"/>
                    </a:cubicBezTo>
                    <a:cubicBezTo>
                      <a:pt x="613" y="1053"/>
                      <a:pt x="613" y="1053"/>
                      <a:pt x="613" y="1053"/>
                    </a:cubicBezTo>
                    <a:cubicBezTo>
                      <a:pt x="1428" y="1053"/>
                      <a:pt x="1428" y="1053"/>
                      <a:pt x="1428" y="1053"/>
                    </a:cubicBezTo>
                    <a:cubicBezTo>
                      <a:pt x="1428" y="1467"/>
                      <a:pt x="1428" y="1467"/>
                      <a:pt x="1428" y="1467"/>
                    </a:cubicBezTo>
                    <a:cubicBezTo>
                      <a:pt x="1428" y="1467"/>
                      <a:pt x="1402" y="1335"/>
                      <a:pt x="1205" y="1335"/>
                    </a:cubicBezTo>
                    <a:cubicBezTo>
                      <a:pt x="613" y="1335"/>
                      <a:pt x="613" y="1335"/>
                      <a:pt x="613" y="1335"/>
                    </a:cubicBezTo>
                    <a:cubicBezTo>
                      <a:pt x="613" y="2401"/>
                      <a:pt x="613" y="2401"/>
                      <a:pt x="613" y="2401"/>
                    </a:cubicBezTo>
                    <a:cubicBezTo>
                      <a:pt x="613" y="2558"/>
                      <a:pt x="784" y="2651"/>
                      <a:pt x="784" y="2651"/>
                    </a:cubicBezTo>
                    <a:cubicBezTo>
                      <a:pt x="11" y="2651"/>
                      <a:pt x="11" y="2651"/>
                      <a:pt x="11" y="2651"/>
                    </a:cubicBezTo>
                    <a:cubicBezTo>
                      <a:pt x="11" y="2651"/>
                      <a:pt x="173" y="2569"/>
                      <a:pt x="173" y="2401"/>
                    </a:cubicBezTo>
                    <a:cubicBezTo>
                      <a:pt x="173" y="278"/>
                      <a:pt x="173" y="278"/>
                      <a:pt x="173" y="278"/>
                    </a:cubicBezTo>
                    <a:cubicBezTo>
                      <a:pt x="173" y="99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noProof="0" dirty="0"/>
              </a:p>
            </p:txBody>
          </p:sp>
          <p:sp>
            <p:nvSpPr>
              <p:cNvPr id="111" name="Freeform 73"/>
              <p:cNvSpPr>
                <a:spLocks/>
              </p:cNvSpPr>
              <p:nvPr userDrawn="1"/>
            </p:nvSpPr>
            <p:spPr bwMode="gray">
              <a:xfrm>
                <a:off x="8134033" y="333375"/>
                <a:ext cx="95250" cy="328613"/>
              </a:xfrm>
              <a:custGeom>
                <a:avLst/>
                <a:gdLst/>
                <a:ahLst/>
                <a:cxnLst>
                  <a:cxn ang="0">
                    <a:pos x="246" y="0"/>
                  </a:cxn>
                  <a:cxn ang="0">
                    <a:pos x="1072" y="0"/>
                  </a:cxn>
                  <a:cxn ang="0">
                    <a:pos x="887" y="230"/>
                  </a:cxn>
                  <a:cxn ang="0">
                    <a:pos x="887" y="2717"/>
                  </a:cxn>
                  <a:cxn ang="0">
                    <a:pos x="0" y="3693"/>
                  </a:cxn>
                  <a:cxn ang="0">
                    <a:pos x="423" y="2717"/>
                  </a:cxn>
                  <a:cxn ang="0">
                    <a:pos x="423" y="230"/>
                  </a:cxn>
                  <a:cxn ang="0">
                    <a:pos x="246" y="0"/>
                  </a:cxn>
                </a:cxnLst>
                <a:rect l="0" t="0" r="r" b="b"/>
                <a:pathLst>
                  <a:path w="1072" h="3696">
                    <a:moveTo>
                      <a:pt x="246" y="0"/>
                    </a:moveTo>
                    <a:cubicBezTo>
                      <a:pt x="1072" y="0"/>
                      <a:pt x="1072" y="0"/>
                      <a:pt x="1072" y="0"/>
                    </a:cubicBezTo>
                    <a:cubicBezTo>
                      <a:pt x="1072" y="0"/>
                      <a:pt x="887" y="87"/>
                      <a:pt x="887" y="230"/>
                    </a:cubicBezTo>
                    <a:cubicBezTo>
                      <a:pt x="887" y="2717"/>
                      <a:pt x="887" y="2717"/>
                      <a:pt x="887" y="2717"/>
                    </a:cubicBezTo>
                    <a:cubicBezTo>
                      <a:pt x="887" y="3558"/>
                      <a:pt x="44" y="3696"/>
                      <a:pt x="0" y="3693"/>
                    </a:cubicBezTo>
                    <a:cubicBezTo>
                      <a:pt x="72" y="3647"/>
                      <a:pt x="422" y="3349"/>
                      <a:pt x="423" y="2717"/>
                    </a:cubicBezTo>
                    <a:cubicBezTo>
                      <a:pt x="423" y="230"/>
                      <a:pt x="423" y="230"/>
                      <a:pt x="423" y="230"/>
                    </a:cubicBezTo>
                    <a:cubicBezTo>
                      <a:pt x="424" y="96"/>
                      <a:pt x="246" y="0"/>
                      <a:pt x="246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noProof="0" dirty="0"/>
              </a:p>
            </p:txBody>
          </p:sp>
          <p:sp>
            <p:nvSpPr>
              <p:cNvPr id="112" name="Freeform 74"/>
              <p:cNvSpPr>
                <a:spLocks/>
              </p:cNvSpPr>
              <p:nvPr userDrawn="1"/>
            </p:nvSpPr>
            <p:spPr bwMode="gray">
              <a:xfrm>
                <a:off x="8238808" y="333375"/>
                <a:ext cx="74613" cy="23495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828" y="0"/>
                  </a:cxn>
                  <a:cxn ang="0">
                    <a:pos x="645" y="235"/>
                  </a:cxn>
                  <a:cxn ang="0">
                    <a:pos x="645" y="2401"/>
                  </a:cxn>
                  <a:cxn ang="0">
                    <a:pos x="828" y="2653"/>
                  </a:cxn>
                  <a:cxn ang="0">
                    <a:pos x="0" y="2653"/>
                  </a:cxn>
                  <a:cxn ang="0">
                    <a:pos x="184" y="2401"/>
                  </a:cxn>
                  <a:cxn ang="0">
                    <a:pos x="184" y="235"/>
                  </a:cxn>
                  <a:cxn ang="0">
                    <a:pos x="0" y="0"/>
                  </a:cxn>
                </a:cxnLst>
                <a:rect l="0" t="0" r="r" b="b"/>
                <a:pathLst>
                  <a:path w="828" h="2653">
                    <a:moveTo>
                      <a:pt x="0" y="0"/>
                    </a:moveTo>
                    <a:cubicBezTo>
                      <a:pt x="828" y="0"/>
                      <a:pt x="828" y="0"/>
                      <a:pt x="828" y="0"/>
                    </a:cubicBezTo>
                    <a:cubicBezTo>
                      <a:pt x="828" y="0"/>
                      <a:pt x="645" y="89"/>
                      <a:pt x="645" y="235"/>
                    </a:cubicBezTo>
                    <a:cubicBezTo>
                      <a:pt x="645" y="2401"/>
                      <a:pt x="645" y="2401"/>
                      <a:pt x="645" y="2401"/>
                    </a:cubicBezTo>
                    <a:cubicBezTo>
                      <a:pt x="645" y="2556"/>
                      <a:pt x="828" y="2653"/>
                      <a:pt x="828" y="2653"/>
                    </a:cubicBezTo>
                    <a:cubicBezTo>
                      <a:pt x="0" y="2653"/>
                      <a:pt x="0" y="2653"/>
                      <a:pt x="0" y="2653"/>
                    </a:cubicBezTo>
                    <a:cubicBezTo>
                      <a:pt x="0" y="2653"/>
                      <a:pt x="184" y="2557"/>
                      <a:pt x="184" y="2401"/>
                    </a:cubicBezTo>
                    <a:cubicBezTo>
                      <a:pt x="184" y="235"/>
                      <a:pt x="184" y="235"/>
                      <a:pt x="184" y="235"/>
                    </a:cubicBezTo>
                    <a:cubicBezTo>
                      <a:pt x="184" y="89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noProof="0" dirty="0"/>
              </a:p>
            </p:txBody>
          </p:sp>
          <p:sp>
            <p:nvSpPr>
              <p:cNvPr id="113" name="Freeform 75"/>
              <p:cNvSpPr>
                <a:spLocks/>
              </p:cNvSpPr>
              <p:nvPr userDrawn="1"/>
            </p:nvSpPr>
            <p:spPr bwMode="gray">
              <a:xfrm>
                <a:off x="8313421" y="333375"/>
                <a:ext cx="176213" cy="234950"/>
              </a:xfrm>
              <a:custGeom>
                <a:avLst/>
                <a:gdLst/>
                <a:ahLst/>
                <a:cxnLst>
                  <a:cxn ang="0">
                    <a:pos x="161" y="0"/>
                  </a:cxn>
                  <a:cxn ang="0">
                    <a:pos x="1984" y="0"/>
                  </a:cxn>
                  <a:cxn ang="0">
                    <a:pos x="1829" y="482"/>
                  </a:cxn>
                  <a:cxn ang="0">
                    <a:pos x="1607" y="279"/>
                  </a:cxn>
                  <a:cxn ang="0">
                    <a:pos x="1229" y="279"/>
                  </a:cxn>
                  <a:cxn ang="0">
                    <a:pos x="1229" y="2401"/>
                  </a:cxn>
                  <a:cxn ang="0">
                    <a:pos x="1407" y="2651"/>
                  </a:cxn>
                  <a:cxn ang="0">
                    <a:pos x="595" y="2651"/>
                  </a:cxn>
                  <a:cxn ang="0">
                    <a:pos x="771" y="2401"/>
                  </a:cxn>
                  <a:cxn ang="0">
                    <a:pos x="771" y="279"/>
                  </a:cxn>
                  <a:cxn ang="0">
                    <a:pos x="315" y="279"/>
                  </a:cxn>
                  <a:cxn ang="0">
                    <a:pos x="0" y="522"/>
                  </a:cxn>
                  <a:cxn ang="0">
                    <a:pos x="161" y="0"/>
                  </a:cxn>
                </a:cxnLst>
                <a:rect l="0" t="0" r="r" b="b"/>
                <a:pathLst>
                  <a:path w="1984" h="2651">
                    <a:moveTo>
                      <a:pt x="161" y="0"/>
                    </a:moveTo>
                    <a:cubicBezTo>
                      <a:pt x="1984" y="0"/>
                      <a:pt x="1984" y="0"/>
                      <a:pt x="1984" y="0"/>
                    </a:cubicBezTo>
                    <a:cubicBezTo>
                      <a:pt x="1829" y="482"/>
                      <a:pt x="1829" y="482"/>
                      <a:pt x="1829" y="482"/>
                    </a:cubicBezTo>
                    <a:cubicBezTo>
                      <a:pt x="1829" y="482"/>
                      <a:pt x="1783" y="279"/>
                      <a:pt x="1607" y="279"/>
                    </a:cubicBezTo>
                    <a:cubicBezTo>
                      <a:pt x="1229" y="279"/>
                      <a:pt x="1229" y="279"/>
                      <a:pt x="1229" y="279"/>
                    </a:cubicBezTo>
                    <a:cubicBezTo>
                      <a:pt x="1229" y="2401"/>
                      <a:pt x="1229" y="2401"/>
                      <a:pt x="1229" y="2401"/>
                    </a:cubicBezTo>
                    <a:cubicBezTo>
                      <a:pt x="1229" y="2535"/>
                      <a:pt x="1407" y="2651"/>
                      <a:pt x="1407" y="2651"/>
                    </a:cubicBezTo>
                    <a:cubicBezTo>
                      <a:pt x="595" y="2651"/>
                      <a:pt x="595" y="2651"/>
                      <a:pt x="595" y="2651"/>
                    </a:cubicBezTo>
                    <a:cubicBezTo>
                      <a:pt x="595" y="2651"/>
                      <a:pt x="771" y="2547"/>
                      <a:pt x="771" y="2401"/>
                    </a:cubicBezTo>
                    <a:cubicBezTo>
                      <a:pt x="771" y="279"/>
                      <a:pt x="771" y="279"/>
                      <a:pt x="771" y="279"/>
                    </a:cubicBezTo>
                    <a:cubicBezTo>
                      <a:pt x="315" y="279"/>
                      <a:pt x="315" y="279"/>
                      <a:pt x="315" y="279"/>
                    </a:cubicBezTo>
                    <a:cubicBezTo>
                      <a:pt x="185" y="280"/>
                      <a:pt x="0" y="522"/>
                      <a:pt x="0" y="522"/>
                    </a:cubicBezTo>
                    <a:lnTo>
                      <a:pt x="161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noProof="0" dirty="0"/>
              </a:p>
            </p:txBody>
          </p:sp>
          <p:sp>
            <p:nvSpPr>
              <p:cNvPr id="114" name="Freeform 76"/>
              <p:cNvSpPr>
                <a:spLocks/>
              </p:cNvSpPr>
              <p:nvPr userDrawn="1"/>
            </p:nvSpPr>
            <p:spPr bwMode="gray">
              <a:xfrm>
                <a:off x="8634096" y="333375"/>
                <a:ext cx="196850" cy="239713"/>
              </a:xfrm>
              <a:custGeom>
                <a:avLst/>
                <a:gdLst/>
                <a:ahLst/>
                <a:cxnLst>
                  <a:cxn ang="0">
                    <a:pos x="1420" y="0"/>
                  </a:cxn>
                  <a:cxn ang="0">
                    <a:pos x="2219" y="0"/>
                  </a:cxn>
                  <a:cxn ang="0">
                    <a:pos x="2048" y="234"/>
                  </a:cxn>
                  <a:cxn ang="0">
                    <a:pos x="2048" y="1840"/>
                  </a:cxn>
                  <a:cxn ang="0">
                    <a:pos x="1131" y="2693"/>
                  </a:cxn>
                  <a:cxn ang="0">
                    <a:pos x="176" y="1840"/>
                  </a:cxn>
                  <a:cxn ang="0">
                    <a:pos x="176" y="234"/>
                  </a:cxn>
                  <a:cxn ang="0">
                    <a:pos x="0" y="0"/>
                  </a:cxn>
                  <a:cxn ang="0">
                    <a:pos x="821" y="0"/>
                  </a:cxn>
                  <a:cxn ang="0">
                    <a:pos x="638" y="234"/>
                  </a:cxn>
                  <a:cxn ang="0">
                    <a:pos x="638" y="1840"/>
                  </a:cxn>
                  <a:cxn ang="0">
                    <a:pos x="1131" y="2406"/>
                  </a:cxn>
                  <a:cxn ang="0">
                    <a:pos x="1601" y="1840"/>
                  </a:cxn>
                  <a:cxn ang="0">
                    <a:pos x="1601" y="234"/>
                  </a:cxn>
                  <a:cxn ang="0">
                    <a:pos x="1420" y="0"/>
                  </a:cxn>
                </a:cxnLst>
                <a:rect l="0" t="0" r="r" b="b"/>
                <a:pathLst>
                  <a:path w="2219" h="2693">
                    <a:moveTo>
                      <a:pt x="1420" y="0"/>
                    </a:moveTo>
                    <a:cubicBezTo>
                      <a:pt x="2219" y="0"/>
                      <a:pt x="2219" y="0"/>
                      <a:pt x="2219" y="0"/>
                    </a:cubicBezTo>
                    <a:cubicBezTo>
                      <a:pt x="2219" y="0"/>
                      <a:pt x="2048" y="91"/>
                      <a:pt x="2048" y="234"/>
                    </a:cubicBezTo>
                    <a:cubicBezTo>
                      <a:pt x="2048" y="1840"/>
                      <a:pt x="2048" y="1840"/>
                      <a:pt x="2048" y="1840"/>
                    </a:cubicBezTo>
                    <a:cubicBezTo>
                      <a:pt x="2047" y="2492"/>
                      <a:pt x="1506" y="2693"/>
                      <a:pt x="1131" y="2693"/>
                    </a:cubicBezTo>
                    <a:cubicBezTo>
                      <a:pt x="759" y="2693"/>
                      <a:pt x="175" y="2490"/>
                      <a:pt x="176" y="1840"/>
                    </a:cubicBezTo>
                    <a:cubicBezTo>
                      <a:pt x="176" y="234"/>
                      <a:pt x="176" y="234"/>
                      <a:pt x="176" y="234"/>
                    </a:cubicBezTo>
                    <a:cubicBezTo>
                      <a:pt x="176" y="91"/>
                      <a:pt x="0" y="0"/>
                      <a:pt x="0" y="0"/>
                    </a:cubicBezTo>
                    <a:cubicBezTo>
                      <a:pt x="821" y="0"/>
                      <a:pt x="821" y="0"/>
                      <a:pt x="821" y="0"/>
                    </a:cubicBezTo>
                    <a:cubicBezTo>
                      <a:pt x="821" y="0"/>
                      <a:pt x="638" y="88"/>
                      <a:pt x="638" y="234"/>
                    </a:cubicBezTo>
                    <a:cubicBezTo>
                      <a:pt x="638" y="1840"/>
                      <a:pt x="638" y="1840"/>
                      <a:pt x="638" y="1840"/>
                    </a:cubicBezTo>
                    <a:cubicBezTo>
                      <a:pt x="638" y="2182"/>
                      <a:pt x="865" y="2406"/>
                      <a:pt x="1131" y="2406"/>
                    </a:cubicBezTo>
                    <a:cubicBezTo>
                      <a:pt x="1397" y="2406"/>
                      <a:pt x="1600" y="2173"/>
                      <a:pt x="1601" y="1840"/>
                    </a:cubicBezTo>
                    <a:cubicBezTo>
                      <a:pt x="1601" y="234"/>
                      <a:pt x="1601" y="234"/>
                      <a:pt x="1601" y="234"/>
                    </a:cubicBezTo>
                    <a:cubicBezTo>
                      <a:pt x="1601" y="91"/>
                      <a:pt x="1420" y="0"/>
                      <a:pt x="142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noProof="0" dirty="0"/>
              </a:p>
            </p:txBody>
          </p:sp>
          <p:sp>
            <p:nvSpPr>
              <p:cNvPr id="115" name="Freeform 77"/>
              <p:cNvSpPr>
                <a:spLocks/>
              </p:cNvSpPr>
              <p:nvPr userDrawn="1"/>
            </p:nvSpPr>
            <p:spPr bwMode="gray">
              <a:xfrm>
                <a:off x="7943533" y="333375"/>
                <a:ext cx="198438" cy="239713"/>
              </a:xfrm>
              <a:custGeom>
                <a:avLst/>
                <a:gdLst/>
                <a:ahLst/>
                <a:cxnLst>
                  <a:cxn ang="0">
                    <a:pos x="1427" y="0"/>
                  </a:cxn>
                  <a:cxn ang="0">
                    <a:pos x="2240" y="0"/>
                  </a:cxn>
                  <a:cxn ang="0">
                    <a:pos x="2068" y="237"/>
                  </a:cxn>
                  <a:cxn ang="0">
                    <a:pos x="2067" y="1838"/>
                  </a:cxn>
                  <a:cxn ang="0">
                    <a:pos x="1122" y="2700"/>
                  </a:cxn>
                  <a:cxn ang="0">
                    <a:pos x="166" y="1838"/>
                  </a:cxn>
                  <a:cxn ang="0">
                    <a:pos x="166" y="237"/>
                  </a:cxn>
                  <a:cxn ang="0">
                    <a:pos x="0" y="0"/>
                  </a:cxn>
                  <a:cxn ang="0">
                    <a:pos x="821" y="0"/>
                  </a:cxn>
                  <a:cxn ang="0">
                    <a:pos x="631" y="237"/>
                  </a:cxn>
                  <a:cxn ang="0">
                    <a:pos x="630" y="1838"/>
                  </a:cxn>
                  <a:cxn ang="0">
                    <a:pos x="1122" y="2413"/>
                  </a:cxn>
                  <a:cxn ang="0">
                    <a:pos x="1602" y="1838"/>
                  </a:cxn>
                  <a:cxn ang="0">
                    <a:pos x="1603" y="237"/>
                  </a:cxn>
                  <a:cxn ang="0">
                    <a:pos x="1427" y="0"/>
                  </a:cxn>
                </a:cxnLst>
                <a:rect l="0" t="0" r="r" b="b"/>
                <a:pathLst>
                  <a:path w="2240" h="2700">
                    <a:moveTo>
                      <a:pt x="1427" y="0"/>
                    </a:moveTo>
                    <a:cubicBezTo>
                      <a:pt x="2240" y="0"/>
                      <a:pt x="2240" y="0"/>
                      <a:pt x="2240" y="0"/>
                    </a:cubicBezTo>
                    <a:cubicBezTo>
                      <a:pt x="2240" y="0"/>
                      <a:pt x="2068" y="95"/>
                      <a:pt x="2068" y="237"/>
                    </a:cubicBezTo>
                    <a:cubicBezTo>
                      <a:pt x="2068" y="238"/>
                      <a:pt x="2067" y="1838"/>
                      <a:pt x="2067" y="1838"/>
                    </a:cubicBezTo>
                    <a:cubicBezTo>
                      <a:pt x="2067" y="2494"/>
                      <a:pt x="1501" y="2700"/>
                      <a:pt x="1122" y="2700"/>
                    </a:cubicBezTo>
                    <a:cubicBezTo>
                      <a:pt x="750" y="2700"/>
                      <a:pt x="166" y="2491"/>
                      <a:pt x="166" y="1838"/>
                    </a:cubicBezTo>
                    <a:cubicBezTo>
                      <a:pt x="166" y="237"/>
                      <a:pt x="166" y="237"/>
                      <a:pt x="166" y="237"/>
                    </a:cubicBezTo>
                    <a:cubicBezTo>
                      <a:pt x="166" y="94"/>
                      <a:pt x="0" y="0"/>
                      <a:pt x="0" y="0"/>
                    </a:cubicBezTo>
                    <a:cubicBezTo>
                      <a:pt x="821" y="0"/>
                      <a:pt x="821" y="0"/>
                      <a:pt x="821" y="0"/>
                    </a:cubicBezTo>
                    <a:cubicBezTo>
                      <a:pt x="821" y="0"/>
                      <a:pt x="631" y="94"/>
                      <a:pt x="631" y="237"/>
                    </a:cubicBezTo>
                    <a:cubicBezTo>
                      <a:pt x="630" y="1838"/>
                      <a:pt x="630" y="1838"/>
                      <a:pt x="630" y="1838"/>
                    </a:cubicBezTo>
                    <a:cubicBezTo>
                      <a:pt x="630" y="2178"/>
                      <a:pt x="856" y="2412"/>
                      <a:pt x="1122" y="2413"/>
                    </a:cubicBezTo>
                    <a:cubicBezTo>
                      <a:pt x="1388" y="2414"/>
                      <a:pt x="1602" y="2174"/>
                      <a:pt x="1602" y="1838"/>
                    </a:cubicBezTo>
                    <a:cubicBezTo>
                      <a:pt x="1603" y="237"/>
                      <a:pt x="1603" y="237"/>
                      <a:pt x="1603" y="237"/>
                    </a:cubicBezTo>
                    <a:cubicBezTo>
                      <a:pt x="1603" y="94"/>
                      <a:pt x="1427" y="0"/>
                      <a:pt x="1427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noProof="0" dirty="0"/>
              </a:p>
            </p:txBody>
          </p:sp>
          <p:sp>
            <p:nvSpPr>
              <p:cNvPr id="116" name="Freeform 78"/>
              <p:cNvSpPr>
                <a:spLocks/>
              </p:cNvSpPr>
              <p:nvPr userDrawn="1"/>
            </p:nvSpPr>
            <p:spPr bwMode="gray">
              <a:xfrm>
                <a:off x="8481696" y="328613"/>
                <a:ext cx="150813" cy="244475"/>
              </a:xfrm>
              <a:custGeom>
                <a:avLst/>
                <a:gdLst/>
                <a:ahLst/>
                <a:cxnLst>
                  <a:cxn ang="0">
                    <a:pos x="1467" y="479"/>
                  </a:cxn>
                  <a:cxn ang="0">
                    <a:pos x="1019" y="276"/>
                  </a:cxn>
                  <a:cxn ang="0">
                    <a:pos x="504" y="677"/>
                  </a:cxn>
                  <a:cxn ang="0">
                    <a:pos x="995" y="1174"/>
                  </a:cxn>
                  <a:cxn ang="0">
                    <a:pos x="1705" y="1974"/>
                  </a:cxn>
                  <a:cxn ang="0">
                    <a:pos x="651" y="2755"/>
                  </a:cxn>
                  <a:cxn ang="0">
                    <a:pos x="155" y="2686"/>
                  </a:cxn>
                  <a:cxn ang="0">
                    <a:pos x="0" y="2177"/>
                  </a:cxn>
                  <a:cxn ang="0">
                    <a:pos x="658" y="2466"/>
                  </a:cxn>
                  <a:cxn ang="0">
                    <a:pos x="1252" y="2030"/>
                  </a:cxn>
                  <a:cxn ang="0">
                    <a:pos x="46" y="731"/>
                  </a:cxn>
                  <a:cxn ang="0">
                    <a:pos x="973" y="0"/>
                  </a:cxn>
                  <a:cxn ang="0">
                    <a:pos x="1467" y="69"/>
                  </a:cxn>
                  <a:cxn ang="0">
                    <a:pos x="1467" y="479"/>
                  </a:cxn>
                </a:cxnLst>
                <a:rect l="0" t="0" r="r" b="b"/>
                <a:pathLst>
                  <a:path w="1707" h="2755">
                    <a:moveTo>
                      <a:pt x="1467" y="479"/>
                    </a:moveTo>
                    <a:cubicBezTo>
                      <a:pt x="1467" y="479"/>
                      <a:pt x="1352" y="277"/>
                      <a:pt x="1019" y="276"/>
                    </a:cubicBezTo>
                    <a:cubicBezTo>
                      <a:pt x="686" y="275"/>
                      <a:pt x="505" y="450"/>
                      <a:pt x="504" y="677"/>
                    </a:cubicBezTo>
                    <a:cubicBezTo>
                      <a:pt x="503" y="934"/>
                      <a:pt x="696" y="1031"/>
                      <a:pt x="995" y="1174"/>
                    </a:cubicBezTo>
                    <a:cubicBezTo>
                      <a:pt x="1279" y="1311"/>
                      <a:pt x="1707" y="1499"/>
                      <a:pt x="1705" y="1974"/>
                    </a:cubicBezTo>
                    <a:cubicBezTo>
                      <a:pt x="1704" y="2399"/>
                      <a:pt x="1327" y="2755"/>
                      <a:pt x="651" y="2755"/>
                    </a:cubicBezTo>
                    <a:cubicBezTo>
                      <a:pt x="442" y="2754"/>
                      <a:pt x="155" y="2686"/>
                      <a:pt x="155" y="2686"/>
                    </a:cubicBezTo>
                    <a:cubicBezTo>
                      <a:pt x="0" y="2177"/>
                      <a:pt x="0" y="2177"/>
                      <a:pt x="0" y="2177"/>
                    </a:cubicBezTo>
                    <a:cubicBezTo>
                      <a:pt x="143" y="2316"/>
                      <a:pt x="397" y="2466"/>
                      <a:pt x="658" y="2466"/>
                    </a:cubicBezTo>
                    <a:cubicBezTo>
                      <a:pt x="929" y="2466"/>
                      <a:pt x="1252" y="2298"/>
                      <a:pt x="1252" y="2030"/>
                    </a:cubicBezTo>
                    <a:cubicBezTo>
                      <a:pt x="1252" y="1512"/>
                      <a:pt x="46" y="1598"/>
                      <a:pt x="46" y="731"/>
                    </a:cubicBezTo>
                    <a:cubicBezTo>
                      <a:pt x="46" y="433"/>
                      <a:pt x="254" y="0"/>
                      <a:pt x="973" y="0"/>
                    </a:cubicBezTo>
                    <a:cubicBezTo>
                      <a:pt x="1207" y="0"/>
                      <a:pt x="1467" y="69"/>
                      <a:pt x="1467" y="69"/>
                    </a:cubicBezTo>
                    <a:lnTo>
                      <a:pt x="1467" y="47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noProof="0" dirty="0"/>
              </a:p>
            </p:txBody>
          </p:sp>
        </p:grpSp>
      </p:grpSp>
      <p:sp>
        <p:nvSpPr>
          <p:cNvPr id="117" name="VCT_Marker_ID_7" hidden="1"/>
          <p:cNvSpPr/>
          <p:nvPr userDrawn="1">
            <p:custDataLst>
              <p:tags r:id="rId4"/>
            </p:custDataLst>
          </p:nvPr>
        </p:nvSpPr>
        <p:spPr>
          <a:xfrm>
            <a:off x="1270000" y="95250"/>
            <a:ext cx="127000" cy="95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18" name="VCT_Backup_ID_44" hidden="1"/>
          <p:cNvSpPr txBox="1"/>
          <p:nvPr userDrawn="1">
            <p:custDataLst>
              <p:tags r:id="rId5"/>
            </p:custDataLst>
          </p:nvPr>
        </p:nvSpPr>
        <p:spPr bwMode="auto">
          <a:xfrm>
            <a:off x="324002" y="1304100"/>
            <a:ext cx="8496149" cy="1102519"/>
          </a:xfrm>
          <a:prstGeom prst="rect">
            <a:avLst/>
          </a:prstGeom>
          <a:noFill/>
          <a:ln w="0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3676650" algn="l"/>
              </a:tabLst>
              <a:defRPr/>
            </a:pPr>
            <a:r>
              <a:rPr lang="en-GB" sz="4400" b="0" i="0" u="none" baseline="0" dirty="0" smtClean="0">
                <a:solidFill>
                  <a:srgbClr val="FFFFFF"/>
                </a:solidFill>
                <a:latin typeface="Arial"/>
              </a:rPr>
              <a:t>Titelmasterformat </a:t>
            </a:r>
            <a:r>
              <a:rPr lang="en-GB" sz="4400" b="0" i="0" u="none" baseline="0" dirty="0" err="1" smtClean="0">
                <a:solidFill>
                  <a:srgbClr val="FFFFFF"/>
                </a:solidFill>
                <a:latin typeface="Arial"/>
              </a:rPr>
              <a:t>durch</a:t>
            </a:r>
            <a:r>
              <a:rPr lang="en-GB" sz="4400" b="0" i="0" u="none" baseline="0" dirty="0" smtClean="0">
                <a:solidFill>
                  <a:srgbClr val="FFFFFF"/>
                </a:solidFill>
                <a:latin typeface="Arial"/>
              </a:rPr>
              <a:t> </a:t>
            </a:r>
            <a:r>
              <a:rPr lang="en-GB" sz="4400" b="0" i="0" u="none" baseline="0" dirty="0" err="1" smtClean="0">
                <a:solidFill>
                  <a:srgbClr val="FFFFFF"/>
                </a:solidFill>
                <a:latin typeface="Arial"/>
              </a:rPr>
              <a:t>Klicken</a:t>
            </a:r>
            <a:r>
              <a:rPr lang="en-GB" sz="4400" b="0" i="0" u="none" baseline="0" dirty="0" smtClean="0">
                <a:solidFill>
                  <a:srgbClr val="FFFFFF"/>
                </a:solidFill>
                <a:latin typeface="Arial"/>
              </a:rPr>
              <a:t> </a:t>
            </a:r>
            <a:r>
              <a:rPr lang="en-GB" sz="4400" b="0" i="0" u="none" baseline="0" dirty="0" err="1" smtClean="0">
                <a:solidFill>
                  <a:srgbClr val="FFFFFF"/>
                </a:solidFill>
                <a:latin typeface="Arial"/>
              </a:rPr>
              <a:t>bearbeiten</a:t>
            </a:r>
            <a:endParaRPr lang="en-GB" sz="4400" b="0" i="0" u="none" baseline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19" name="VCT_Backup_ID_45" hidden="1"/>
          <p:cNvSpPr txBox="1"/>
          <p:nvPr userDrawn="1">
            <p:custDataLst>
              <p:tags r:id="rId6"/>
            </p:custDataLst>
          </p:nvPr>
        </p:nvSpPr>
        <p:spPr bwMode="auto">
          <a:xfrm>
            <a:off x="323999" y="3434400"/>
            <a:ext cx="8496151" cy="1339199"/>
          </a:xfrm>
          <a:prstGeom prst="rect">
            <a:avLst/>
          </a:prstGeom>
          <a:noFill/>
          <a:ln w="0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marL="0" lvl="0" indent="0"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de-DE" sz="2400" b="0" i="0" u="none" baseline="0" smtClean="0">
                <a:solidFill>
                  <a:srgbClr val="000000"/>
                </a:solidFill>
                <a:latin typeface="Arial"/>
              </a:rPr>
              <a:t>Formatvorlage des Untertitelmasters durch Klicken bearbeiten</a:t>
            </a:r>
            <a:endParaRPr lang="en-GB" sz="2400" b="0" i="0" u="none" baseline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0" name="Rechteck 119"/>
          <p:cNvSpPr/>
          <p:nvPr userDrawn="1"/>
        </p:nvSpPr>
        <p:spPr bwMode="gray">
          <a:xfrm>
            <a:off x="4427984" y="4991100"/>
            <a:ext cx="360040" cy="1524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noProof="0" smtClean="0">
              <a:solidFill>
                <a:schemeClr val="tx1"/>
              </a:solidFill>
            </a:endParaRPr>
          </a:p>
        </p:txBody>
      </p:sp>
      <p:sp>
        <p:nvSpPr>
          <p:cNvPr id="121" name="Rectangle 46"/>
          <p:cNvSpPr/>
          <p:nvPr userDrawn="1"/>
        </p:nvSpPr>
        <p:spPr>
          <a:xfrm>
            <a:off x="0" y="4813200"/>
            <a:ext cx="9144000" cy="14402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de-DE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1.xml"/><Relationship Id="rId18" Type="http://schemas.openxmlformats.org/officeDocument/2006/relationships/slideLayout" Target="../slideLayouts/slideLayout26.xml"/><Relationship Id="rId26" Type="http://schemas.openxmlformats.org/officeDocument/2006/relationships/slideLayout" Target="../slideLayouts/slideLayout34.xml"/><Relationship Id="rId39" Type="http://schemas.openxmlformats.org/officeDocument/2006/relationships/theme" Target="../theme/theme2.xml"/><Relationship Id="rId21" Type="http://schemas.openxmlformats.org/officeDocument/2006/relationships/slideLayout" Target="../slideLayouts/slideLayout29.xml"/><Relationship Id="rId34" Type="http://schemas.openxmlformats.org/officeDocument/2006/relationships/slideLayout" Target="../slideLayouts/slideLayout42.xml"/><Relationship Id="rId42" Type="http://schemas.openxmlformats.org/officeDocument/2006/relationships/image" Target="../media/image1.jpeg"/><Relationship Id="rId7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0.xml"/><Relationship Id="rId16" Type="http://schemas.openxmlformats.org/officeDocument/2006/relationships/slideLayout" Target="../slideLayouts/slideLayout24.xml"/><Relationship Id="rId20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37.xml"/><Relationship Id="rId41" Type="http://schemas.openxmlformats.org/officeDocument/2006/relationships/tags" Target="../tags/tag114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24" Type="http://schemas.openxmlformats.org/officeDocument/2006/relationships/slideLayout" Target="../slideLayouts/slideLayout32.xml"/><Relationship Id="rId32" Type="http://schemas.openxmlformats.org/officeDocument/2006/relationships/slideLayout" Target="../slideLayouts/slideLayout40.xml"/><Relationship Id="rId37" Type="http://schemas.openxmlformats.org/officeDocument/2006/relationships/slideLayout" Target="../slideLayouts/slideLayout45.xml"/><Relationship Id="rId40" Type="http://schemas.openxmlformats.org/officeDocument/2006/relationships/tags" Target="../tags/tag113.xml"/><Relationship Id="rId5" Type="http://schemas.openxmlformats.org/officeDocument/2006/relationships/slideLayout" Target="../slideLayouts/slideLayout13.xml"/><Relationship Id="rId15" Type="http://schemas.openxmlformats.org/officeDocument/2006/relationships/slideLayout" Target="../slideLayouts/slideLayout23.xml"/><Relationship Id="rId23" Type="http://schemas.openxmlformats.org/officeDocument/2006/relationships/slideLayout" Target="../slideLayouts/slideLayout31.xml"/><Relationship Id="rId28" Type="http://schemas.openxmlformats.org/officeDocument/2006/relationships/slideLayout" Target="../slideLayouts/slideLayout36.xml"/><Relationship Id="rId36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27.xml"/><Relationship Id="rId31" Type="http://schemas.openxmlformats.org/officeDocument/2006/relationships/slideLayout" Target="../slideLayouts/slideLayout39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Relationship Id="rId14" Type="http://schemas.openxmlformats.org/officeDocument/2006/relationships/slideLayout" Target="../slideLayouts/slideLayout22.xml"/><Relationship Id="rId22" Type="http://schemas.openxmlformats.org/officeDocument/2006/relationships/slideLayout" Target="../slideLayouts/slideLayout30.xml"/><Relationship Id="rId27" Type="http://schemas.openxmlformats.org/officeDocument/2006/relationships/slideLayout" Target="../slideLayouts/slideLayout35.xml"/><Relationship Id="rId30" Type="http://schemas.openxmlformats.org/officeDocument/2006/relationships/slideLayout" Target="../slideLayouts/slideLayout38.xml"/><Relationship Id="rId35" Type="http://schemas.openxmlformats.org/officeDocument/2006/relationships/slideLayout" Target="../slideLayouts/slideLayout43.xml"/><Relationship Id="rId8" Type="http://schemas.openxmlformats.org/officeDocument/2006/relationships/slideLayout" Target="../slideLayouts/slideLayout16.xml"/><Relationship Id="rId3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20.xml"/><Relationship Id="rId17" Type="http://schemas.openxmlformats.org/officeDocument/2006/relationships/slideLayout" Target="../slideLayouts/slideLayout25.xml"/><Relationship Id="rId25" Type="http://schemas.openxmlformats.org/officeDocument/2006/relationships/slideLayout" Target="../slideLayouts/slideLayout33.xml"/><Relationship Id="rId33" Type="http://schemas.openxmlformats.org/officeDocument/2006/relationships/slideLayout" Target="../slideLayouts/slideLayout41.xml"/><Relationship Id="rId38" Type="http://schemas.openxmlformats.org/officeDocument/2006/relationships/slideLayout" Target="../slideLayouts/slideLayout4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 descr="C_Gray_24_L150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gray">
          <a:xfrm>
            <a:off x="0" y="0"/>
            <a:ext cx="9144000" cy="1390650"/>
          </a:xfrm>
          <a:prstGeom prst="rect">
            <a:avLst/>
          </a:prstGeom>
          <a:noFill/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250825" y="72557"/>
            <a:ext cx="7561264" cy="7709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 algn="l" rtl="0" fontAlgn="base"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</a:pPr>
            <a:endParaRPr lang="en-US" noProof="0"/>
          </a:p>
        </p:txBody>
      </p:sp>
      <p:sp>
        <p:nvSpPr>
          <p:cNvPr id="7" name="VCT_Marker_ID_7" hidden="1"/>
          <p:cNvSpPr/>
          <p:nvPr>
            <p:custDataLst>
              <p:tags r:id="rId10"/>
            </p:custDataLst>
          </p:nvPr>
        </p:nvSpPr>
        <p:spPr>
          <a:xfrm>
            <a:off x="1270000" y="95250"/>
            <a:ext cx="127000" cy="95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Rectangle 21"/>
          <p:cNvSpPr/>
          <p:nvPr/>
        </p:nvSpPr>
        <p:spPr bwMode="gray">
          <a:xfrm>
            <a:off x="4302000" y="4937125"/>
            <a:ext cx="5400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algn="ctr" defTabSz="914400" rtl="0" eaLnBrk="1" fontAlgn="base" latinLnBrk="0" hangingPunct="1">
              <a:spcBef>
                <a:spcPct val="0"/>
              </a:spcBef>
              <a:spcAft>
                <a:spcPct val="0"/>
              </a:spcAft>
            </a:pPr>
            <a:fld id="{AC746033-9F45-4508-8446-72AA2BBAAD2A}" type="slidenum">
              <a:rPr kumimoji="0" lang="en-US" altLang="ja-JP" sz="800" kern="1200" noProof="0" smtClean="0">
                <a:solidFill>
                  <a:schemeClr val="tx1"/>
                </a:solidFill>
                <a:latin typeface="+mn-lt"/>
                <a:ea typeface="ＭＳ Ｐゴシック" charset="-128"/>
                <a:cs typeface="+mn-cs"/>
              </a:rPr>
              <a:pPr marL="0" algn="ctr" defTabSz="914400" rtl="0" eaLnBrk="1" fontAlgn="base" latinLnBrk="0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0" lang="en-US" altLang="ja-JP" sz="800" kern="1200" noProof="0" dirty="0" smtClean="0">
              <a:solidFill>
                <a:schemeClr val="tx1"/>
              </a:solidFill>
              <a:latin typeface="+mn-lt"/>
              <a:ea typeface="ＭＳ Ｐゴシック" charset="-128"/>
              <a:cs typeface="+mn-cs"/>
            </a:endParaRPr>
          </a:p>
        </p:txBody>
      </p:sp>
      <p:sp>
        <p:nvSpPr>
          <p:cNvPr id="40" name="Text Placeholder 39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 bwMode="gray">
          <a:xfrm>
            <a:off x="250825" y="987425"/>
            <a:ext cx="8642350" cy="38163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 dirty="0"/>
          </a:p>
        </p:txBody>
      </p:sp>
      <p:sp>
        <p:nvSpPr>
          <p:cNvPr id="19" name="Line 4"/>
          <p:cNvSpPr>
            <a:spLocks noChangeShapeType="1"/>
          </p:cNvSpPr>
          <p:nvPr/>
        </p:nvSpPr>
        <p:spPr bwMode="gray">
          <a:xfrm>
            <a:off x="0" y="4948080"/>
            <a:ext cx="9144000" cy="0"/>
          </a:xfrm>
          <a:prstGeom prst="line">
            <a:avLst/>
          </a:prstGeom>
          <a:noFill/>
          <a:ln w="12700">
            <a:solidFill>
              <a:srgbClr val="87867E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GB" noProof="0" dirty="0"/>
          </a:p>
        </p:txBody>
      </p:sp>
      <p:pic>
        <p:nvPicPr>
          <p:cNvPr id="21" name="Picture 3" descr="Fujitsu_Logo"/>
          <p:cNvPicPr>
            <a:picLocks noChangeAspect="1" noChangeArrowheads="1"/>
          </p:cNvPicPr>
          <p:nvPr/>
        </p:nvPicPr>
        <p:blipFill>
          <a:blip r:embed="rId13" cstate="print"/>
          <a:srcRect b="20259"/>
          <a:stretch>
            <a:fillRect/>
          </a:stretch>
        </p:blipFill>
        <p:spPr bwMode="auto">
          <a:xfrm>
            <a:off x="7664790" y="243040"/>
            <a:ext cx="1252195" cy="499082"/>
          </a:xfrm>
          <a:prstGeom prst="rect">
            <a:avLst/>
          </a:prstGeom>
          <a:noFill/>
        </p:spPr>
      </p:pic>
      <p:sp>
        <p:nvSpPr>
          <p:cNvPr id="14" name="Rectangle 23"/>
          <p:cNvSpPr>
            <a:spLocks noChangeArrowheads="1"/>
          </p:cNvSpPr>
          <p:nvPr userDrawn="1"/>
        </p:nvSpPr>
        <p:spPr bwMode="gray">
          <a:xfrm>
            <a:off x="7449687" y="4982134"/>
            <a:ext cx="1433513" cy="141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dirty="0">
                <a:latin typeface="+mn-lt"/>
              </a:rPr>
              <a:t>Copyright </a:t>
            </a:r>
            <a:r>
              <a:rPr lang="en-US" altLang="ja-JP" sz="800" dirty="0" smtClean="0">
                <a:latin typeface="+mn-lt"/>
              </a:rPr>
              <a:t>2016 </a:t>
            </a:r>
            <a:r>
              <a:rPr lang="en-US" altLang="ja-JP" sz="800" dirty="0">
                <a:latin typeface="+mn-lt"/>
              </a:rPr>
              <a:t>FUJITSU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55" r:id="rId2"/>
    <p:sldLayoutId id="2147483705" r:id="rId3"/>
    <p:sldLayoutId id="2147483777" r:id="rId4"/>
    <p:sldLayoutId id="2147483790" r:id="rId5"/>
    <p:sldLayoutId id="2147483791" r:id="rId6"/>
    <p:sldLayoutId id="2147483792" r:id="rId7"/>
    <p:sldLayoutId id="2147483793" r:id="rId8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tabLst>
          <a:tab pos="2871788" algn="l"/>
          <a:tab pos="3676650" algn="l"/>
        </a:tabLst>
        <a:defRPr kumimoji="1" lang="de-DE" altLang="ja-JP" sz="2800" kern="1200" dirty="0" smtClean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9875" indent="-269875" algn="l" defTabSz="914400" rtl="0" eaLnBrk="1" latinLnBrk="0" hangingPunct="1">
        <a:lnSpc>
          <a:spcPct val="110000"/>
        </a:lnSpc>
        <a:spcBef>
          <a:spcPts val="300"/>
        </a:spcBef>
        <a:spcAft>
          <a:spcPts val="200"/>
        </a:spcAft>
        <a:buClr>
          <a:schemeClr val="accent2"/>
        </a:buClr>
        <a:buFont typeface="Wingdings" pitchFamily="2" charset="2"/>
        <a:buChar char=""/>
        <a:defRPr sz="2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539750" indent="-269875" algn="l" defTabSz="914400" rtl="0" eaLnBrk="1" latinLnBrk="0" hangingPunct="1">
        <a:lnSpc>
          <a:spcPct val="110000"/>
        </a:lnSpc>
        <a:spcBef>
          <a:spcPts val="300"/>
        </a:spcBef>
        <a:spcAft>
          <a:spcPts val="200"/>
        </a:spcAft>
        <a:buClr>
          <a:schemeClr val="tx2"/>
        </a:buClr>
        <a:buFont typeface="Wingdings" pitchFamily="2" charset="2"/>
        <a:buChar char="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714375" indent="-174625" algn="l" defTabSz="914400" rtl="0" eaLnBrk="1" latinLnBrk="0" hangingPunct="1">
        <a:lnSpc>
          <a:spcPct val="110000"/>
        </a:lnSpc>
        <a:spcBef>
          <a:spcPts val="300"/>
        </a:spcBef>
        <a:spcAft>
          <a:spcPts val="200"/>
        </a:spcAft>
        <a:buClr>
          <a:schemeClr val="tx2"/>
        </a:buClr>
        <a:buFont typeface="Arial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96938" indent="-182563" algn="l" defTabSz="896938" rtl="0" eaLnBrk="1" latinLnBrk="0" hangingPunct="1">
        <a:lnSpc>
          <a:spcPct val="110000"/>
        </a:lnSpc>
        <a:spcBef>
          <a:spcPts val="300"/>
        </a:spcBef>
        <a:spcAft>
          <a:spcPts val="2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079500" indent="-182563" algn="l" defTabSz="914400" rtl="0" eaLnBrk="1" latinLnBrk="0" hangingPunct="1">
        <a:lnSpc>
          <a:spcPct val="110000"/>
        </a:lnSpc>
        <a:spcBef>
          <a:spcPts val="300"/>
        </a:spcBef>
        <a:spcAft>
          <a:spcPts val="200"/>
        </a:spcAft>
        <a:buClr>
          <a:schemeClr val="tx2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Picture 2" descr="C_Gray_24_L150"/>
          <p:cNvPicPr>
            <a:picLocks noChangeAspect="1" noChangeArrowheads="1"/>
          </p:cNvPicPr>
          <p:nvPr/>
        </p:nvPicPr>
        <p:blipFill>
          <a:blip r:embed="rId42" cstate="print"/>
          <a:srcRect/>
          <a:stretch>
            <a:fillRect/>
          </a:stretch>
        </p:blipFill>
        <p:spPr bwMode="gray">
          <a:xfrm>
            <a:off x="0" y="0"/>
            <a:ext cx="9144000" cy="1390650"/>
          </a:xfrm>
          <a:prstGeom prst="rect">
            <a:avLst/>
          </a:prstGeom>
          <a:noFill/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250825" y="72557"/>
            <a:ext cx="7561264" cy="7709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 algn="l" rtl="0" fontAlgn="base"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</a:pPr>
            <a:endParaRPr lang="en-US" noProof="0" dirty="0"/>
          </a:p>
        </p:txBody>
      </p:sp>
      <p:sp>
        <p:nvSpPr>
          <p:cNvPr id="7" name="VCT_Marker_ID_7" hidden="1"/>
          <p:cNvSpPr/>
          <p:nvPr>
            <p:custDataLst>
              <p:tags r:id="rId40"/>
            </p:custDataLst>
          </p:nvPr>
        </p:nvSpPr>
        <p:spPr>
          <a:xfrm>
            <a:off x="1270000" y="95250"/>
            <a:ext cx="127000" cy="95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Rectangle 21"/>
          <p:cNvSpPr/>
          <p:nvPr/>
        </p:nvSpPr>
        <p:spPr bwMode="gray">
          <a:xfrm>
            <a:off x="4302000" y="4937125"/>
            <a:ext cx="5400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algn="ctr" defTabSz="914400" rtl="0" eaLnBrk="1" fontAlgn="base" latinLnBrk="0" hangingPunct="1">
              <a:spcBef>
                <a:spcPct val="0"/>
              </a:spcBef>
              <a:spcAft>
                <a:spcPct val="0"/>
              </a:spcAft>
            </a:pPr>
            <a:fld id="{AC746033-9F45-4508-8446-72AA2BBAAD2A}" type="slidenum">
              <a:rPr kumimoji="0" lang="en-US" altLang="ja-JP" sz="800" kern="1200" noProof="0" smtClean="0">
                <a:solidFill>
                  <a:schemeClr val="tx1"/>
                </a:solidFill>
                <a:latin typeface="+mn-lt"/>
                <a:ea typeface="ＭＳ Ｐゴシック" charset="-128"/>
                <a:cs typeface="+mn-cs"/>
              </a:rPr>
              <a:pPr marL="0" algn="ctr" defTabSz="914400" rtl="0" eaLnBrk="1" fontAlgn="base" latinLnBrk="0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0" lang="en-US" altLang="ja-JP" sz="800" kern="1200" noProof="0" dirty="0" smtClean="0">
              <a:solidFill>
                <a:schemeClr val="tx1"/>
              </a:solidFill>
              <a:latin typeface="+mn-lt"/>
              <a:ea typeface="ＭＳ Ｐゴシック" charset="-128"/>
              <a:cs typeface="+mn-cs"/>
            </a:endParaRPr>
          </a:p>
        </p:txBody>
      </p:sp>
      <p:sp>
        <p:nvSpPr>
          <p:cNvPr id="40" name="Text Placeholder 39"/>
          <p:cNvSpPr>
            <a:spLocks noGrp="1"/>
          </p:cNvSpPr>
          <p:nvPr>
            <p:ph type="body" idx="1"/>
            <p:custDataLst>
              <p:tags r:id="rId41"/>
            </p:custDataLst>
          </p:nvPr>
        </p:nvSpPr>
        <p:spPr bwMode="gray">
          <a:xfrm>
            <a:off x="250825" y="987425"/>
            <a:ext cx="8642350" cy="38163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grpSp>
        <p:nvGrpSpPr>
          <p:cNvPr id="110" name="Group 109"/>
          <p:cNvGrpSpPr/>
          <p:nvPr/>
        </p:nvGrpSpPr>
        <p:grpSpPr>
          <a:xfrm>
            <a:off x="8010525" y="249238"/>
            <a:ext cx="892176" cy="434975"/>
            <a:chOff x="8010525" y="249238"/>
            <a:chExt cx="892176" cy="434975"/>
          </a:xfrm>
        </p:grpSpPr>
        <p:sp>
          <p:nvSpPr>
            <p:cNvPr id="80" name="Freeform 68"/>
            <p:cNvSpPr>
              <a:spLocks/>
            </p:cNvSpPr>
            <p:nvPr userDrawn="1"/>
          </p:nvSpPr>
          <p:spPr bwMode="gray">
            <a:xfrm>
              <a:off x="8305800" y="249238"/>
              <a:ext cx="179388" cy="139700"/>
            </a:xfrm>
            <a:custGeom>
              <a:avLst/>
              <a:gdLst/>
              <a:ahLst/>
              <a:cxnLst>
                <a:cxn ang="0">
                  <a:pos x="961" y="764"/>
                </a:cxn>
                <a:cxn ang="0">
                  <a:pos x="599" y="642"/>
                </a:cxn>
                <a:cxn ang="0">
                  <a:pos x="1" y="1235"/>
                </a:cxn>
                <a:cxn ang="0">
                  <a:pos x="599" y="1825"/>
                </a:cxn>
                <a:cxn ang="0">
                  <a:pos x="1053" y="1619"/>
                </a:cxn>
                <a:cxn ang="0">
                  <a:pos x="1053" y="1293"/>
                </a:cxn>
                <a:cxn ang="0">
                  <a:pos x="771" y="1568"/>
                </a:cxn>
                <a:cxn ang="0">
                  <a:pos x="599" y="1604"/>
                </a:cxn>
                <a:cxn ang="0">
                  <a:pos x="225" y="1235"/>
                </a:cxn>
                <a:cxn ang="0">
                  <a:pos x="599" y="863"/>
                </a:cxn>
                <a:cxn ang="0">
                  <a:pos x="861" y="972"/>
                </a:cxn>
                <a:cxn ang="0">
                  <a:pos x="1093" y="1239"/>
                </a:cxn>
                <a:cxn ang="0">
                  <a:pos x="1630" y="1473"/>
                </a:cxn>
                <a:cxn ang="0">
                  <a:pos x="2365" y="741"/>
                </a:cxn>
                <a:cxn ang="0">
                  <a:pos x="1630" y="0"/>
                </a:cxn>
                <a:cxn ang="0">
                  <a:pos x="1053" y="295"/>
                </a:cxn>
                <a:cxn ang="0">
                  <a:pos x="1053" y="735"/>
                </a:cxn>
                <a:cxn ang="0">
                  <a:pos x="1630" y="232"/>
                </a:cxn>
                <a:cxn ang="0">
                  <a:pos x="2134" y="741"/>
                </a:cxn>
                <a:cxn ang="0">
                  <a:pos x="1630" y="1245"/>
                </a:cxn>
                <a:cxn ang="0">
                  <a:pos x="1303" y="1125"/>
                </a:cxn>
                <a:cxn ang="0">
                  <a:pos x="961" y="764"/>
                </a:cxn>
              </a:cxnLst>
              <a:rect l="0" t="0" r="r" b="b"/>
              <a:pathLst>
                <a:path w="2365" h="1825">
                  <a:moveTo>
                    <a:pt x="961" y="764"/>
                  </a:moveTo>
                  <a:cubicBezTo>
                    <a:pt x="875" y="688"/>
                    <a:pt x="736" y="643"/>
                    <a:pt x="599" y="642"/>
                  </a:cubicBezTo>
                  <a:cubicBezTo>
                    <a:pt x="270" y="641"/>
                    <a:pt x="2" y="900"/>
                    <a:pt x="1" y="1235"/>
                  </a:cubicBezTo>
                  <a:cubicBezTo>
                    <a:pt x="0" y="1563"/>
                    <a:pt x="270" y="1824"/>
                    <a:pt x="599" y="1825"/>
                  </a:cubicBezTo>
                  <a:cubicBezTo>
                    <a:pt x="783" y="1825"/>
                    <a:pt x="943" y="1751"/>
                    <a:pt x="1053" y="1619"/>
                  </a:cubicBezTo>
                  <a:cubicBezTo>
                    <a:pt x="1053" y="1293"/>
                    <a:pt x="1053" y="1293"/>
                    <a:pt x="1053" y="1293"/>
                  </a:cubicBezTo>
                  <a:cubicBezTo>
                    <a:pt x="994" y="1394"/>
                    <a:pt x="877" y="1524"/>
                    <a:pt x="771" y="1568"/>
                  </a:cubicBezTo>
                  <a:cubicBezTo>
                    <a:pt x="717" y="1590"/>
                    <a:pt x="662" y="1604"/>
                    <a:pt x="599" y="1604"/>
                  </a:cubicBezTo>
                  <a:cubicBezTo>
                    <a:pt x="394" y="1604"/>
                    <a:pt x="225" y="1445"/>
                    <a:pt x="225" y="1235"/>
                  </a:cubicBezTo>
                  <a:cubicBezTo>
                    <a:pt x="225" y="1041"/>
                    <a:pt x="380" y="862"/>
                    <a:pt x="599" y="863"/>
                  </a:cubicBezTo>
                  <a:cubicBezTo>
                    <a:pt x="701" y="863"/>
                    <a:pt x="793" y="905"/>
                    <a:pt x="861" y="972"/>
                  </a:cubicBezTo>
                  <a:cubicBezTo>
                    <a:pt x="931" y="1040"/>
                    <a:pt x="1041" y="1183"/>
                    <a:pt x="1093" y="1239"/>
                  </a:cubicBezTo>
                  <a:cubicBezTo>
                    <a:pt x="1227" y="1383"/>
                    <a:pt x="1419" y="1473"/>
                    <a:pt x="1630" y="1473"/>
                  </a:cubicBezTo>
                  <a:cubicBezTo>
                    <a:pt x="2036" y="1474"/>
                    <a:pt x="2365" y="1146"/>
                    <a:pt x="2365" y="741"/>
                  </a:cubicBezTo>
                  <a:cubicBezTo>
                    <a:pt x="2365" y="336"/>
                    <a:pt x="2035" y="0"/>
                    <a:pt x="1630" y="0"/>
                  </a:cubicBezTo>
                  <a:cubicBezTo>
                    <a:pt x="1395" y="0"/>
                    <a:pt x="1187" y="122"/>
                    <a:pt x="1053" y="295"/>
                  </a:cubicBezTo>
                  <a:cubicBezTo>
                    <a:pt x="1053" y="735"/>
                    <a:pt x="1053" y="735"/>
                    <a:pt x="1053" y="735"/>
                  </a:cubicBezTo>
                  <a:cubicBezTo>
                    <a:pt x="1155" y="455"/>
                    <a:pt x="1340" y="232"/>
                    <a:pt x="1630" y="232"/>
                  </a:cubicBezTo>
                  <a:cubicBezTo>
                    <a:pt x="1909" y="232"/>
                    <a:pt x="2135" y="463"/>
                    <a:pt x="2134" y="741"/>
                  </a:cubicBezTo>
                  <a:cubicBezTo>
                    <a:pt x="2134" y="1020"/>
                    <a:pt x="1909" y="1246"/>
                    <a:pt x="1630" y="1245"/>
                  </a:cubicBezTo>
                  <a:cubicBezTo>
                    <a:pt x="1506" y="1244"/>
                    <a:pt x="1391" y="1199"/>
                    <a:pt x="1303" y="1125"/>
                  </a:cubicBezTo>
                  <a:cubicBezTo>
                    <a:pt x="1194" y="1040"/>
                    <a:pt x="1074" y="860"/>
                    <a:pt x="961" y="764"/>
                  </a:cubicBezTo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1" name="Freeform 69"/>
            <p:cNvSpPr>
              <a:spLocks/>
            </p:cNvSpPr>
            <p:nvPr userDrawn="1"/>
          </p:nvSpPr>
          <p:spPr bwMode="gray">
            <a:xfrm>
              <a:off x="8010525" y="401638"/>
              <a:ext cx="123825" cy="201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4" y="0"/>
                </a:cxn>
                <a:cxn ang="0">
                  <a:pos x="1624" y="452"/>
                </a:cxn>
                <a:cxn ang="0">
                  <a:pos x="1365" y="273"/>
                </a:cxn>
                <a:cxn ang="0">
                  <a:pos x="613" y="273"/>
                </a:cxn>
                <a:cxn ang="0">
                  <a:pos x="613" y="1053"/>
                </a:cxn>
                <a:cxn ang="0">
                  <a:pos x="1428" y="1053"/>
                </a:cxn>
                <a:cxn ang="0">
                  <a:pos x="1428" y="1467"/>
                </a:cxn>
                <a:cxn ang="0">
                  <a:pos x="1205" y="1335"/>
                </a:cxn>
                <a:cxn ang="0">
                  <a:pos x="613" y="1335"/>
                </a:cxn>
                <a:cxn ang="0">
                  <a:pos x="613" y="2401"/>
                </a:cxn>
                <a:cxn ang="0">
                  <a:pos x="784" y="2651"/>
                </a:cxn>
                <a:cxn ang="0">
                  <a:pos x="11" y="2651"/>
                </a:cxn>
                <a:cxn ang="0">
                  <a:pos x="173" y="2401"/>
                </a:cxn>
                <a:cxn ang="0">
                  <a:pos x="173" y="278"/>
                </a:cxn>
                <a:cxn ang="0">
                  <a:pos x="0" y="0"/>
                </a:cxn>
              </a:cxnLst>
              <a:rect l="0" t="0" r="r" b="b"/>
              <a:pathLst>
                <a:path w="1624" h="2651">
                  <a:moveTo>
                    <a:pt x="0" y="0"/>
                  </a:moveTo>
                  <a:cubicBezTo>
                    <a:pt x="1624" y="0"/>
                    <a:pt x="1624" y="0"/>
                    <a:pt x="1624" y="0"/>
                  </a:cubicBezTo>
                  <a:cubicBezTo>
                    <a:pt x="1624" y="452"/>
                    <a:pt x="1624" y="452"/>
                    <a:pt x="1624" y="452"/>
                  </a:cubicBezTo>
                  <a:cubicBezTo>
                    <a:pt x="1624" y="452"/>
                    <a:pt x="1540" y="274"/>
                    <a:pt x="1365" y="273"/>
                  </a:cubicBezTo>
                  <a:cubicBezTo>
                    <a:pt x="613" y="273"/>
                    <a:pt x="613" y="273"/>
                    <a:pt x="613" y="273"/>
                  </a:cubicBezTo>
                  <a:cubicBezTo>
                    <a:pt x="613" y="1053"/>
                    <a:pt x="613" y="1053"/>
                    <a:pt x="613" y="1053"/>
                  </a:cubicBezTo>
                  <a:cubicBezTo>
                    <a:pt x="1428" y="1053"/>
                    <a:pt x="1428" y="1053"/>
                    <a:pt x="1428" y="1053"/>
                  </a:cubicBezTo>
                  <a:cubicBezTo>
                    <a:pt x="1428" y="1467"/>
                    <a:pt x="1428" y="1467"/>
                    <a:pt x="1428" y="1467"/>
                  </a:cubicBezTo>
                  <a:cubicBezTo>
                    <a:pt x="1428" y="1467"/>
                    <a:pt x="1402" y="1335"/>
                    <a:pt x="1205" y="1335"/>
                  </a:cubicBezTo>
                  <a:cubicBezTo>
                    <a:pt x="613" y="1335"/>
                    <a:pt x="613" y="1335"/>
                    <a:pt x="613" y="1335"/>
                  </a:cubicBezTo>
                  <a:cubicBezTo>
                    <a:pt x="613" y="2401"/>
                    <a:pt x="613" y="2401"/>
                    <a:pt x="613" y="2401"/>
                  </a:cubicBezTo>
                  <a:cubicBezTo>
                    <a:pt x="613" y="2558"/>
                    <a:pt x="784" y="2651"/>
                    <a:pt x="784" y="2651"/>
                  </a:cubicBezTo>
                  <a:cubicBezTo>
                    <a:pt x="11" y="2651"/>
                    <a:pt x="11" y="2651"/>
                    <a:pt x="11" y="2651"/>
                  </a:cubicBezTo>
                  <a:cubicBezTo>
                    <a:pt x="11" y="2651"/>
                    <a:pt x="173" y="2569"/>
                    <a:pt x="173" y="2401"/>
                  </a:cubicBezTo>
                  <a:cubicBezTo>
                    <a:pt x="173" y="278"/>
                    <a:pt x="173" y="278"/>
                    <a:pt x="173" y="278"/>
                  </a:cubicBezTo>
                  <a:cubicBezTo>
                    <a:pt x="173" y="9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2" name="Freeform 70"/>
            <p:cNvSpPr>
              <a:spLocks/>
            </p:cNvSpPr>
            <p:nvPr userDrawn="1"/>
          </p:nvSpPr>
          <p:spPr bwMode="gray">
            <a:xfrm>
              <a:off x="8304213" y="401638"/>
              <a:ext cx="80963" cy="282575"/>
            </a:xfrm>
            <a:custGeom>
              <a:avLst/>
              <a:gdLst/>
              <a:ahLst/>
              <a:cxnLst>
                <a:cxn ang="0">
                  <a:pos x="246" y="0"/>
                </a:cxn>
                <a:cxn ang="0">
                  <a:pos x="1072" y="0"/>
                </a:cxn>
                <a:cxn ang="0">
                  <a:pos x="887" y="230"/>
                </a:cxn>
                <a:cxn ang="0">
                  <a:pos x="887" y="2717"/>
                </a:cxn>
                <a:cxn ang="0">
                  <a:pos x="0" y="3693"/>
                </a:cxn>
                <a:cxn ang="0">
                  <a:pos x="423" y="2717"/>
                </a:cxn>
                <a:cxn ang="0">
                  <a:pos x="423" y="230"/>
                </a:cxn>
                <a:cxn ang="0">
                  <a:pos x="246" y="0"/>
                </a:cxn>
              </a:cxnLst>
              <a:rect l="0" t="0" r="r" b="b"/>
              <a:pathLst>
                <a:path w="1072" h="3696">
                  <a:moveTo>
                    <a:pt x="246" y="0"/>
                  </a:moveTo>
                  <a:cubicBezTo>
                    <a:pt x="1072" y="0"/>
                    <a:pt x="1072" y="0"/>
                    <a:pt x="1072" y="0"/>
                  </a:cubicBezTo>
                  <a:cubicBezTo>
                    <a:pt x="1072" y="0"/>
                    <a:pt x="887" y="87"/>
                    <a:pt x="887" y="230"/>
                  </a:cubicBezTo>
                  <a:cubicBezTo>
                    <a:pt x="887" y="2717"/>
                    <a:pt x="887" y="2717"/>
                    <a:pt x="887" y="2717"/>
                  </a:cubicBezTo>
                  <a:cubicBezTo>
                    <a:pt x="887" y="3558"/>
                    <a:pt x="44" y="3696"/>
                    <a:pt x="0" y="3693"/>
                  </a:cubicBezTo>
                  <a:cubicBezTo>
                    <a:pt x="72" y="3647"/>
                    <a:pt x="422" y="3349"/>
                    <a:pt x="423" y="2717"/>
                  </a:cubicBezTo>
                  <a:cubicBezTo>
                    <a:pt x="423" y="230"/>
                    <a:pt x="423" y="230"/>
                    <a:pt x="423" y="230"/>
                  </a:cubicBezTo>
                  <a:cubicBezTo>
                    <a:pt x="424" y="96"/>
                    <a:pt x="246" y="0"/>
                    <a:pt x="246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3" name="Freeform 71"/>
            <p:cNvSpPr>
              <a:spLocks/>
            </p:cNvSpPr>
            <p:nvPr userDrawn="1"/>
          </p:nvSpPr>
          <p:spPr bwMode="gray">
            <a:xfrm>
              <a:off x="8394700" y="401638"/>
              <a:ext cx="63500" cy="201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28" y="0"/>
                </a:cxn>
                <a:cxn ang="0">
                  <a:pos x="645" y="235"/>
                </a:cxn>
                <a:cxn ang="0">
                  <a:pos x="645" y="2401"/>
                </a:cxn>
                <a:cxn ang="0">
                  <a:pos x="828" y="2653"/>
                </a:cxn>
                <a:cxn ang="0">
                  <a:pos x="0" y="2653"/>
                </a:cxn>
                <a:cxn ang="0">
                  <a:pos x="184" y="2401"/>
                </a:cxn>
                <a:cxn ang="0">
                  <a:pos x="184" y="235"/>
                </a:cxn>
                <a:cxn ang="0">
                  <a:pos x="0" y="0"/>
                </a:cxn>
              </a:cxnLst>
              <a:rect l="0" t="0" r="r" b="b"/>
              <a:pathLst>
                <a:path w="828" h="2653">
                  <a:moveTo>
                    <a:pt x="0" y="0"/>
                  </a:moveTo>
                  <a:cubicBezTo>
                    <a:pt x="828" y="0"/>
                    <a:pt x="828" y="0"/>
                    <a:pt x="828" y="0"/>
                  </a:cubicBezTo>
                  <a:cubicBezTo>
                    <a:pt x="828" y="0"/>
                    <a:pt x="645" y="89"/>
                    <a:pt x="645" y="235"/>
                  </a:cubicBezTo>
                  <a:cubicBezTo>
                    <a:pt x="645" y="2401"/>
                    <a:pt x="645" y="2401"/>
                    <a:pt x="645" y="2401"/>
                  </a:cubicBezTo>
                  <a:cubicBezTo>
                    <a:pt x="645" y="2556"/>
                    <a:pt x="828" y="2653"/>
                    <a:pt x="828" y="2653"/>
                  </a:cubicBezTo>
                  <a:cubicBezTo>
                    <a:pt x="0" y="2653"/>
                    <a:pt x="0" y="2653"/>
                    <a:pt x="0" y="2653"/>
                  </a:cubicBezTo>
                  <a:cubicBezTo>
                    <a:pt x="0" y="2653"/>
                    <a:pt x="184" y="2557"/>
                    <a:pt x="184" y="2401"/>
                  </a:cubicBezTo>
                  <a:cubicBezTo>
                    <a:pt x="184" y="235"/>
                    <a:pt x="184" y="235"/>
                    <a:pt x="184" y="235"/>
                  </a:cubicBezTo>
                  <a:cubicBezTo>
                    <a:pt x="184" y="8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4" name="Freeform 72"/>
            <p:cNvSpPr>
              <a:spLocks/>
            </p:cNvSpPr>
            <p:nvPr userDrawn="1"/>
          </p:nvSpPr>
          <p:spPr bwMode="gray">
            <a:xfrm>
              <a:off x="8458200" y="401638"/>
              <a:ext cx="150813" cy="201613"/>
            </a:xfrm>
            <a:custGeom>
              <a:avLst/>
              <a:gdLst/>
              <a:ahLst/>
              <a:cxnLst>
                <a:cxn ang="0">
                  <a:pos x="161" y="0"/>
                </a:cxn>
                <a:cxn ang="0">
                  <a:pos x="1984" y="0"/>
                </a:cxn>
                <a:cxn ang="0">
                  <a:pos x="1829" y="482"/>
                </a:cxn>
                <a:cxn ang="0">
                  <a:pos x="1607" y="279"/>
                </a:cxn>
                <a:cxn ang="0">
                  <a:pos x="1229" y="279"/>
                </a:cxn>
                <a:cxn ang="0">
                  <a:pos x="1229" y="2401"/>
                </a:cxn>
                <a:cxn ang="0">
                  <a:pos x="1407" y="2651"/>
                </a:cxn>
                <a:cxn ang="0">
                  <a:pos x="595" y="2651"/>
                </a:cxn>
                <a:cxn ang="0">
                  <a:pos x="771" y="2401"/>
                </a:cxn>
                <a:cxn ang="0">
                  <a:pos x="771" y="279"/>
                </a:cxn>
                <a:cxn ang="0">
                  <a:pos x="315" y="279"/>
                </a:cxn>
                <a:cxn ang="0">
                  <a:pos x="0" y="522"/>
                </a:cxn>
                <a:cxn ang="0">
                  <a:pos x="161" y="0"/>
                </a:cxn>
              </a:cxnLst>
              <a:rect l="0" t="0" r="r" b="b"/>
              <a:pathLst>
                <a:path w="1984" h="2651">
                  <a:moveTo>
                    <a:pt x="161" y="0"/>
                  </a:moveTo>
                  <a:cubicBezTo>
                    <a:pt x="1984" y="0"/>
                    <a:pt x="1984" y="0"/>
                    <a:pt x="1984" y="0"/>
                  </a:cubicBezTo>
                  <a:cubicBezTo>
                    <a:pt x="1829" y="482"/>
                    <a:pt x="1829" y="482"/>
                    <a:pt x="1829" y="482"/>
                  </a:cubicBezTo>
                  <a:cubicBezTo>
                    <a:pt x="1829" y="482"/>
                    <a:pt x="1783" y="279"/>
                    <a:pt x="1607" y="279"/>
                  </a:cubicBezTo>
                  <a:cubicBezTo>
                    <a:pt x="1229" y="279"/>
                    <a:pt x="1229" y="279"/>
                    <a:pt x="1229" y="279"/>
                  </a:cubicBezTo>
                  <a:cubicBezTo>
                    <a:pt x="1229" y="2401"/>
                    <a:pt x="1229" y="2401"/>
                    <a:pt x="1229" y="2401"/>
                  </a:cubicBezTo>
                  <a:cubicBezTo>
                    <a:pt x="1229" y="2535"/>
                    <a:pt x="1407" y="2651"/>
                    <a:pt x="1407" y="2651"/>
                  </a:cubicBezTo>
                  <a:cubicBezTo>
                    <a:pt x="595" y="2651"/>
                    <a:pt x="595" y="2651"/>
                    <a:pt x="595" y="2651"/>
                  </a:cubicBezTo>
                  <a:cubicBezTo>
                    <a:pt x="595" y="2651"/>
                    <a:pt x="771" y="2547"/>
                    <a:pt x="771" y="2401"/>
                  </a:cubicBezTo>
                  <a:cubicBezTo>
                    <a:pt x="771" y="279"/>
                    <a:pt x="771" y="279"/>
                    <a:pt x="771" y="279"/>
                  </a:cubicBezTo>
                  <a:cubicBezTo>
                    <a:pt x="315" y="279"/>
                    <a:pt x="315" y="279"/>
                    <a:pt x="315" y="279"/>
                  </a:cubicBezTo>
                  <a:cubicBezTo>
                    <a:pt x="185" y="280"/>
                    <a:pt x="0" y="522"/>
                    <a:pt x="0" y="522"/>
                  </a:cubicBezTo>
                  <a:lnTo>
                    <a:pt x="161" y="0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5" name="Freeform 73"/>
            <p:cNvSpPr>
              <a:spLocks/>
            </p:cNvSpPr>
            <p:nvPr userDrawn="1"/>
          </p:nvSpPr>
          <p:spPr bwMode="gray">
            <a:xfrm>
              <a:off x="8732838" y="401638"/>
              <a:ext cx="169863" cy="204788"/>
            </a:xfrm>
            <a:custGeom>
              <a:avLst/>
              <a:gdLst/>
              <a:ahLst/>
              <a:cxnLst>
                <a:cxn ang="0">
                  <a:pos x="1420" y="0"/>
                </a:cxn>
                <a:cxn ang="0">
                  <a:pos x="2219" y="0"/>
                </a:cxn>
                <a:cxn ang="0">
                  <a:pos x="2048" y="234"/>
                </a:cxn>
                <a:cxn ang="0">
                  <a:pos x="2048" y="1840"/>
                </a:cxn>
                <a:cxn ang="0">
                  <a:pos x="1131" y="2693"/>
                </a:cxn>
                <a:cxn ang="0">
                  <a:pos x="176" y="1840"/>
                </a:cxn>
                <a:cxn ang="0">
                  <a:pos x="176" y="234"/>
                </a:cxn>
                <a:cxn ang="0">
                  <a:pos x="0" y="0"/>
                </a:cxn>
                <a:cxn ang="0">
                  <a:pos x="821" y="0"/>
                </a:cxn>
                <a:cxn ang="0">
                  <a:pos x="638" y="234"/>
                </a:cxn>
                <a:cxn ang="0">
                  <a:pos x="638" y="1840"/>
                </a:cxn>
                <a:cxn ang="0">
                  <a:pos x="1131" y="2406"/>
                </a:cxn>
                <a:cxn ang="0">
                  <a:pos x="1601" y="1840"/>
                </a:cxn>
                <a:cxn ang="0">
                  <a:pos x="1601" y="234"/>
                </a:cxn>
                <a:cxn ang="0">
                  <a:pos x="1420" y="0"/>
                </a:cxn>
              </a:cxnLst>
              <a:rect l="0" t="0" r="r" b="b"/>
              <a:pathLst>
                <a:path w="2219" h="2693">
                  <a:moveTo>
                    <a:pt x="1420" y="0"/>
                  </a:moveTo>
                  <a:cubicBezTo>
                    <a:pt x="2219" y="0"/>
                    <a:pt x="2219" y="0"/>
                    <a:pt x="2219" y="0"/>
                  </a:cubicBezTo>
                  <a:cubicBezTo>
                    <a:pt x="2219" y="0"/>
                    <a:pt x="2048" y="91"/>
                    <a:pt x="2048" y="234"/>
                  </a:cubicBezTo>
                  <a:cubicBezTo>
                    <a:pt x="2048" y="1840"/>
                    <a:pt x="2048" y="1840"/>
                    <a:pt x="2048" y="1840"/>
                  </a:cubicBezTo>
                  <a:cubicBezTo>
                    <a:pt x="2047" y="2492"/>
                    <a:pt x="1506" y="2693"/>
                    <a:pt x="1131" y="2693"/>
                  </a:cubicBezTo>
                  <a:cubicBezTo>
                    <a:pt x="759" y="2693"/>
                    <a:pt x="175" y="2490"/>
                    <a:pt x="176" y="1840"/>
                  </a:cubicBezTo>
                  <a:cubicBezTo>
                    <a:pt x="176" y="234"/>
                    <a:pt x="176" y="234"/>
                    <a:pt x="176" y="234"/>
                  </a:cubicBezTo>
                  <a:cubicBezTo>
                    <a:pt x="176" y="91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8" y="88"/>
                    <a:pt x="638" y="234"/>
                  </a:cubicBezTo>
                  <a:cubicBezTo>
                    <a:pt x="638" y="1840"/>
                    <a:pt x="638" y="1840"/>
                    <a:pt x="638" y="1840"/>
                  </a:cubicBezTo>
                  <a:cubicBezTo>
                    <a:pt x="638" y="2182"/>
                    <a:pt x="865" y="2406"/>
                    <a:pt x="1131" y="2406"/>
                  </a:cubicBezTo>
                  <a:cubicBezTo>
                    <a:pt x="1397" y="2406"/>
                    <a:pt x="1600" y="2173"/>
                    <a:pt x="1601" y="1840"/>
                  </a:cubicBezTo>
                  <a:cubicBezTo>
                    <a:pt x="1601" y="234"/>
                    <a:pt x="1601" y="234"/>
                    <a:pt x="1601" y="234"/>
                  </a:cubicBezTo>
                  <a:cubicBezTo>
                    <a:pt x="1601" y="91"/>
                    <a:pt x="1420" y="0"/>
                    <a:pt x="142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6" name="Freeform 74"/>
            <p:cNvSpPr>
              <a:spLocks/>
            </p:cNvSpPr>
            <p:nvPr userDrawn="1"/>
          </p:nvSpPr>
          <p:spPr bwMode="gray">
            <a:xfrm>
              <a:off x="8140700" y="401638"/>
              <a:ext cx="169863" cy="206375"/>
            </a:xfrm>
            <a:custGeom>
              <a:avLst/>
              <a:gdLst/>
              <a:ahLst/>
              <a:cxnLst>
                <a:cxn ang="0">
                  <a:pos x="1427" y="0"/>
                </a:cxn>
                <a:cxn ang="0">
                  <a:pos x="2240" y="0"/>
                </a:cxn>
                <a:cxn ang="0">
                  <a:pos x="2068" y="237"/>
                </a:cxn>
                <a:cxn ang="0">
                  <a:pos x="2067" y="1838"/>
                </a:cxn>
                <a:cxn ang="0">
                  <a:pos x="1122" y="2700"/>
                </a:cxn>
                <a:cxn ang="0">
                  <a:pos x="166" y="1838"/>
                </a:cxn>
                <a:cxn ang="0">
                  <a:pos x="166" y="237"/>
                </a:cxn>
                <a:cxn ang="0">
                  <a:pos x="0" y="0"/>
                </a:cxn>
                <a:cxn ang="0">
                  <a:pos x="821" y="0"/>
                </a:cxn>
                <a:cxn ang="0">
                  <a:pos x="631" y="237"/>
                </a:cxn>
                <a:cxn ang="0">
                  <a:pos x="630" y="1838"/>
                </a:cxn>
                <a:cxn ang="0">
                  <a:pos x="1122" y="2413"/>
                </a:cxn>
                <a:cxn ang="0">
                  <a:pos x="1602" y="1838"/>
                </a:cxn>
                <a:cxn ang="0">
                  <a:pos x="1603" y="237"/>
                </a:cxn>
                <a:cxn ang="0">
                  <a:pos x="1427" y="0"/>
                </a:cxn>
              </a:cxnLst>
              <a:rect l="0" t="0" r="r" b="b"/>
              <a:pathLst>
                <a:path w="2240" h="2700">
                  <a:moveTo>
                    <a:pt x="1427" y="0"/>
                  </a:moveTo>
                  <a:cubicBezTo>
                    <a:pt x="2240" y="0"/>
                    <a:pt x="2240" y="0"/>
                    <a:pt x="2240" y="0"/>
                  </a:cubicBezTo>
                  <a:cubicBezTo>
                    <a:pt x="2240" y="0"/>
                    <a:pt x="2068" y="95"/>
                    <a:pt x="2068" y="237"/>
                  </a:cubicBezTo>
                  <a:cubicBezTo>
                    <a:pt x="2068" y="238"/>
                    <a:pt x="2067" y="1838"/>
                    <a:pt x="2067" y="1838"/>
                  </a:cubicBezTo>
                  <a:cubicBezTo>
                    <a:pt x="2067" y="2494"/>
                    <a:pt x="1501" y="2700"/>
                    <a:pt x="1122" y="2700"/>
                  </a:cubicBezTo>
                  <a:cubicBezTo>
                    <a:pt x="750" y="2700"/>
                    <a:pt x="166" y="2491"/>
                    <a:pt x="166" y="1838"/>
                  </a:cubicBezTo>
                  <a:cubicBezTo>
                    <a:pt x="166" y="237"/>
                    <a:pt x="166" y="237"/>
                    <a:pt x="166" y="237"/>
                  </a:cubicBezTo>
                  <a:cubicBezTo>
                    <a:pt x="166" y="94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1" y="94"/>
                    <a:pt x="631" y="237"/>
                  </a:cubicBezTo>
                  <a:cubicBezTo>
                    <a:pt x="630" y="1838"/>
                    <a:pt x="630" y="1838"/>
                    <a:pt x="630" y="1838"/>
                  </a:cubicBezTo>
                  <a:cubicBezTo>
                    <a:pt x="630" y="2178"/>
                    <a:pt x="856" y="2412"/>
                    <a:pt x="1122" y="2413"/>
                  </a:cubicBezTo>
                  <a:cubicBezTo>
                    <a:pt x="1388" y="2414"/>
                    <a:pt x="1602" y="2174"/>
                    <a:pt x="1602" y="1838"/>
                  </a:cubicBezTo>
                  <a:cubicBezTo>
                    <a:pt x="1603" y="237"/>
                    <a:pt x="1603" y="237"/>
                    <a:pt x="1603" y="237"/>
                  </a:cubicBezTo>
                  <a:cubicBezTo>
                    <a:pt x="1603" y="94"/>
                    <a:pt x="1427" y="0"/>
                    <a:pt x="1427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7" name="Freeform 75"/>
            <p:cNvSpPr>
              <a:spLocks/>
            </p:cNvSpPr>
            <p:nvPr userDrawn="1"/>
          </p:nvSpPr>
          <p:spPr bwMode="gray">
            <a:xfrm>
              <a:off x="8602663" y="396875"/>
              <a:ext cx="130175" cy="211138"/>
            </a:xfrm>
            <a:custGeom>
              <a:avLst/>
              <a:gdLst/>
              <a:ahLst/>
              <a:cxnLst>
                <a:cxn ang="0">
                  <a:pos x="1467" y="479"/>
                </a:cxn>
                <a:cxn ang="0">
                  <a:pos x="1019" y="276"/>
                </a:cxn>
                <a:cxn ang="0">
                  <a:pos x="504" y="677"/>
                </a:cxn>
                <a:cxn ang="0">
                  <a:pos x="995" y="1174"/>
                </a:cxn>
                <a:cxn ang="0">
                  <a:pos x="1705" y="1974"/>
                </a:cxn>
                <a:cxn ang="0">
                  <a:pos x="651" y="2755"/>
                </a:cxn>
                <a:cxn ang="0">
                  <a:pos x="155" y="2686"/>
                </a:cxn>
                <a:cxn ang="0">
                  <a:pos x="0" y="2177"/>
                </a:cxn>
                <a:cxn ang="0">
                  <a:pos x="658" y="2466"/>
                </a:cxn>
                <a:cxn ang="0">
                  <a:pos x="1252" y="2030"/>
                </a:cxn>
                <a:cxn ang="0">
                  <a:pos x="46" y="731"/>
                </a:cxn>
                <a:cxn ang="0">
                  <a:pos x="973" y="0"/>
                </a:cxn>
                <a:cxn ang="0">
                  <a:pos x="1467" y="69"/>
                </a:cxn>
                <a:cxn ang="0">
                  <a:pos x="1467" y="479"/>
                </a:cxn>
              </a:cxnLst>
              <a:rect l="0" t="0" r="r" b="b"/>
              <a:pathLst>
                <a:path w="1707" h="2755">
                  <a:moveTo>
                    <a:pt x="1467" y="479"/>
                  </a:moveTo>
                  <a:cubicBezTo>
                    <a:pt x="1467" y="479"/>
                    <a:pt x="1352" y="277"/>
                    <a:pt x="1019" y="276"/>
                  </a:cubicBezTo>
                  <a:cubicBezTo>
                    <a:pt x="686" y="275"/>
                    <a:pt x="505" y="450"/>
                    <a:pt x="504" y="677"/>
                  </a:cubicBezTo>
                  <a:cubicBezTo>
                    <a:pt x="503" y="934"/>
                    <a:pt x="696" y="1031"/>
                    <a:pt x="995" y="1174"/>
                  </a:cubicBezTo>
                  <a:cubicBezTo>
                    <a:pt x="1279" y="1311"/>
                    <a:pt x="1707" y="1499"/>
                    <a:pt x="1705" y="1974"/>
                  </a:cubicBezTo>
                  <a:cubicBezTo>
                    <a:pt x="1704" y="2399"/>
                    <a:pt x="1327" y="2755"/>
                    <a:pt x="651" y="2755"/>
                  </a:cubicBezTo>
                  <a:cubicBezTo>
                    <a:pt x="442" y="2754"/>
                    <a:pt x="155" y="2686"/>
                    <a:pt x="155" y="2686"/>
                  </a:cubicBezTo>
                  <a:cubicBezTo>
                    <a:pt x="0" y="2177"/>
                    <a:pt x="0" y="2177"/>
                    <a:pt x="0" y="2177"/>
                  </a:cubicBezTo>
                  <a:cubicBezTo>
                    <a:pt x="143" y="2316"/>
                    <a:pt x="397" y="2466"/>
                    <a:pt x="658" y="2466"/>
                  </a:cubicBezTo>
                  <a:cubicBezTo>
                    <a:pt x="929" y="2466"/>
                    <a:pt x="1252" y="2298"/>
                    <a:pt x="1252" y="2030"/>
                  </a:cubicBezTo>
                  <a:cubicBezTo>
                    <a:pt x="1252" y="1512"/>
                    <a:pt x="46" y="1598"/>
                    <a:pt x="46" y="731"/>
                  </a:cubicBezTo>
                  <a:cubicBezTo>
                    <a:pt x="46" y="433"/>
                    <a:pt x="254" y="0"/>
                    <a:pt x="973" y="0"/>
                  </a:cubicBezTo>
                  <a:cubicBezTo>
                    <a:pt x="1207" y="0"/>
                    <a:pt x="1467" y="69"/>
                    <a:pt x="1467" y="69"/>
                  </a:cubicBezTo>
                  <a:lnTo>
                    <a:pt x="1467" y="479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sp>
        <p:nvSpPr>
          <p:cNvPr id="19" name="Line 4"/>
          <p:cNvSpPr>
            <a:spLocks noChangeShapeType="1"/>
          </p:cNvSpPr>
          <p:nvPr/>
        </p:nvSpPr>
        <p:spPr bwMode="gray">
          <a:xfrm>
            <a:off x="0" y="4948080"/>
            <a:ext cx="9144000" cy="0"/>
          </a:xfrm>
          <a:prstGeom prst="line">
            <a:avLst/>
          </a:prstGeom>
          <a:noFill/>
          <a:ln w="12700">
            <a:solidFill>
              <a:srgbClr val="87867E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GB" noProof="0" dirty="0"/>
          </a:p>
        </p:txBody>
      </p:sp>
      <p:pic>
        <p:nvPicPr>
          <p:cNvPr id="23" name="Picture 2" descr="C_Gray_24_L150"/>
          <p:cNvPicPr>
            <a:picLocks noChangeAspect="1" noChangeArrowheads="1"/>
          </p:cNvPicPr>
          <p:nvPr userDrawn="1"/>
        </p:nvPicPr>
        <p:blipFill>
          <a:blip r:embed="rId42" cstate="print"/>
          <a:srcRect/>
          <a:stretch>
            <a:fillRect/>
          </a:stretch>
        </p:blipFill>
        <p:spPr bwMode="gray">
          <a:xfrm>
            <a:off x="0" y="0"/>
            <a:ext cx="9144000" cy="1390650"/>
          </a:xfrm>
          <a:prstGeom prst="rect">
            <a:avLst/>
          </a:prstGeom>
          <a:noFill/>
        </p:spPr>
      </p:pic>
      <p:sp>
        <p:nvSpPr>
          <p:cNvPr id="29" name="Rectangle 23"/>
          <p:cNvSpPr>
            <a:spLocks noChangeArrowheads="1"/>
          </p:cNvSpPr>
          <p:nvPr userDrawn="1"/>
        </p:nvSpPr>
        <p:spPr bwMode="gray">
          <a:xfrm>
            <a:off x="7449687" y="4982134"/>
            <a:ext cx="1433513" cy="141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dirty="0">
                <a:latin typeface="+mn-lt"/>
              </a:rPr>
              <a:t>Copyright </a:t>
            </a:r>
            <a:r>
              <a:rPr lang="en-US" altLang="ja-JP" sz="800" dirty="0" smtClean="0">
                <a:latin typeface="+mn-lt"/>
              </a:rPr>
              <a:t>2016 </a:t>
            </a:r>
            <a:r>
              <a:rPr lang="en-US" altLang="ja-JP" sz="800" dirty="0">
                <a:latin typeface="+mn-lt"/>
              </a:rPr>
              <a:t>FUJITSU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95" r:id="rId1"/>
    <p:sldLayoutId id="2147483840" r:id="rId2"/>
    <p:sldLayoutId id="2147483841" r:id="rId3"/>
    <p:sldLayoutId id="2147483796" r:id="rId4"/>
    <p:sldLayoutId id="2147483797" r:id="rId5"/>
    <p:sldLayoutId id="2147483798" r:id="rId6"/>
    <p:sldLayoutId id="2147483799" r:id="rId7"/>
    <p:sldLayoutId id="2147483800" r:id="rId8"/>
    <p:sldLayoutId id="2147483801" r:id="rId9"/>
    <p:sldLayoutId id="2147483802" r:id="rId10"/>
    <p:sldLayoutId id="2147483803" r:id="rId11"/>
    <p:sldLayoutId id="2147483804" r:id="rId12"/>
    <p:sldLayoutId id="2147483805" r:id="rId13"/>
    <p:sldLayoutId id="2147483806" r:id="rId14"/>
    <p:sldLayoutId id="2147483807" r:id="rId15"/>
    <p:sldLayoutId id="2147483808" r:id="rId16"/>
    <p:sldLayoutId id="2147483809" r:id="rId17"/>
    <p:sldLayoutId id="2147483810" r:id="rId18"/>
    <p:sldLayoutId id="2147483811" r:id="rId19"/>
    <p:sldLayoutId id="2147483812" r:id="rId20"/>
    <p:sldLayoutId id="2147483813" r:id="rId21"/>
    <p:sldLayoutId id="2147483814" r:id="rId22"/>
    <p:sldLayoutId id="2147483815" r:id="rId23"/>
    <p:sldLayoutId id="2147483816" r:id="rId24"/>
    <p:sldLayoutId id="2147483817" r:id="rId25"/>
    <p:sldLayoutId id="2147483818" r:id="rId26"/>
    <p:sldLayoutId id="2147483819" r:id="rId27"/>
    <p:sldLayoutId id="2147483820" r:id="rId28"/>
    <p:sldLayoutId id="2147483821" r:id="rId29"/>
    <p:sldLayoutId id="2147483822" r:id="rId30"/>
    <p:sldLayoutId id="2147483823" r:id="rId31"/>
    <p:sldLayoutId id="2147483824" r:id="rId32"/>
    <p:sldLayoutId id="2147483825" r:id="rId33"/>
    <p:sldLayoutId id="2147483826" r:id="rId34"/>
    <p:sldLayoutId id="2147483827" r:id="rId35"/>
    <p:sldLayoutId id="2147483828" r:id="rId36"/>
    <p:sldLayoutId id="2147483829" r:id="rId37"/>
    <p:sldLayoutId id="2147483832" r:id="rId38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tabLst>
          <a:tab pos="2871788" algn="l"/>
          <a:tab pos="3676650" algn="l"/>
        </a:tabLst>
        <a:defRPr kumimoji="1" lang="de-DE" altLang="ja-JP" sz="2800" kern="1200" dirty="0" smtClean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9875" indent="-269875" algn="l" defTabSz="914400" rtl="0" eaLnBrk="1" latinLnBrk="0" hangingPunct="1">
        <a:lnSpc>
          <a:spcPct val="110000"/>
        </a:lnSpc>
        <a:spcBef>
          <a:spcPts val="300"/>
        </a:spcBef>
        <a:spcAft>
          <a:spcPts val="200"/>
        </a:spcAft>
        <a:buClr>
          <a:schemeClr val="accent2"/>
        </a:buClr>
        <a:buFont typeface="Wingdings" pitchFamily="2" charset="2"/>
        <a:buChar char=""/>
        <a:defRPr sz="2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539750" indent="-269875" algn="l" defTabSz="914400" rtl="0" eaLnBrk="1" latinLnBrk="0" hangingPunct="1">
        <a:lnSpc>
          <a:spcPct val="110000"/>
        </a:lnSpc>
        <a:spcBef>
          <a:spcPts val="300"/>
        </a:spcBef>
        <a:spcAft>
          <a:spcPts val="200"/>
        </a:spcAft>
        <a:buClr>
          <a:schemeClr val="tx2"/>
        </a:buClr>
        <a:buFont typeface="Wingdings" pitchFamily="2" charset="2"/>
        <a:buChar char="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714375" indent="-174625" algn="l" defTabSz="914400" rtl="0" eaLnBrk="1" latinLnBrk="0" hangingPunct="1">
        <a:lnSpc>
          <a:spcPct val="110000"/>
        </a:lnSpc>
        <a:spcBef>
          <a:spcPts val="300"/>
        </a:spcBef>
        <a:spcAft>
          <a:spcPts val="200"/>
        </a:spcAft>
        <a:buClr>
          <a:schemeClr val="tx2"/>
        </a:buClr>
        <a:buFont typeface="Arial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96938" indent="-182563" algn="l" defTabSz="896938" rtl="0" eaLnBrk="1" latinLnBrk="0" hangingPunct="1">
        <a:lnSpc>
          <a:spcPct val="110000"/>
        </a:lnSpc>
        <a:spcBef>
          <a:spcPts val="300"/>
        </a:spcBef>
        <a:spcAft>
          <a:spcPts val="2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079500" indent="-182563" algn="l" defTabSz="914400" rtl="0" eaLnBrk="1" latinLnBrk="0" hangingPunct="1">
        <a:lnSpc>
          <a:spcPct val="110000"/>
        </a:lnSpc>
        <a:spcBef>
          <a:spcPts val="300"/>
        </a:spcBef>
        <a:spcAft>
          <a:spcPts val="200"/>
        </a:spcAft>
        <a:buClr>
          <a:schemeClr val="tx2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6.xml"/><Relationship Id="rId6" Type="http://schemas.openxmlformats.org/officeDocument/2006/relationships/image" Target="../media/image10.jpg"/><Relationship Id="rId5" Type="http://schemas.openxmlformats.org/officeDocument/2006/relationships/image" Target="../media/image9.jpg"/><Relationship Id="rId4" Type="http://schemas.openxmlformats.org/officeDocument/2006/relationships/image" Target="../media/image8.jp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2.png"/><Relationship Id="rId7" Type="http://schemas.openxmlformats.org/officeDocument/2006/relationships/image" Target="../media/image16.jp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1.xml"/><Relationship Id="rId6" Type="http://schemas.openxmlformats.org/officeDocument/2006/relationships/image" Target="../media/image15.jpeg"/><Relationship Id="rId5" Type="http://schemas.openxmlformats.org/officeDocument/2006/relationships/image" Target="../media/image14.gif"/><Relationship Id="rId4" Type="http://schemas.openxmlformats.org/officeDocument/2006/relationships/image" Target="../media/image13.jpeg"/><Relationship Id="rId9" Type="http://schemas.openxmlformats.org/officeDocument/2006/relationships/image" Target="../media/image18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2.png"/><Relationship Id="rId7" Type="http://schemas.openxmlformats.org/officeDocument/2006/relationships/image" Target="../media/image15.jpe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1.xml"/><Relationship Id="rId6" Type="http://schemas.openxmlformats.org/officeDocument/2006/relationships/image" Target="../media/image17.png"/><Relationship Id="rId5" Type="http://schemas.openxmlformats.org/officeDocument/2006/relationships/image" Target="../media/image16.jpg"/><Relationship Id="rId4" Type="http://schemas.openxmlformats.org/officeDocument/2006/relationships/image" Target="../media/image13.jpeg"/><Relationship Id="rId9" Type="http://schemas.openxmlformats.org/officeDocument/2006/relationships/image" Target="../media/image14.gi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17.png"/><Relationship Id="rId7" Type="http://schemas.openxmlformats.org/officeDocument/2006/relationships/image" Target="../media/image11.pn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41.xml"/><Relationship Id="rId6" Type="http://schemas.openxmlformats.org/officeDocument/2006/relationships/image" Target="../media/image14.gif"/><Relationship Id="rId5" Type="http://schemas.openxmlformats.org/officeDocument/2006/relationships/image" Target="../media/image16.jpg"/><Relationship Id="rId10" Type="http://schemas.openxmlformats.org/officeDocument/2006/relationships/image" Target="../media/image20.jpeg"/><Relationship Id="rId4" Type="http://schemas.openxmlformats.org/officeDocument/2006/relationships/image" Target="../media/image18.png"/><Relationship Id="rId9" Type="http://schemas.openxmlformats.org/officeDocument/2006/relationships/image" Target="../media/image13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Roadmap Displays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September 2016</a:t>
            </a:r>
          </a:p>
        </p:txBody>
      </p:sp>
    </p:spTree>
    <p:extLst>
      <p:ext uri="{BB962C8B-B14F-4D97-AF65-F5344CB8AC3E}">
        <p14:creationId xmlns:p14="http://schemas.microsoft.com/office/powerpoint/2010/main" val="655485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Grafik 15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3528" y="3147814"/>
            <a:ext cx="8294009" cy="1758974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altLang="ja-JP" dirty="0" smtClean="0"/>
              <a:t>Segmentation of FUJITSU Displays</a:t>
            </a:r>
            <a:endParaRPr lang="en-GB" dirty="0"/>
          </a:p>
        </p:txBody>
      </p:sp>
      <p:grpSp>
        <p:nvGrpSpPr>
          <p:cNvPr id="2" name="Gruppieren 1"/>
          <p:cNvGrpSpPr/>
          <p:nvPr/>
        </p:nvGrpSpPr>
        <p:grpSpPr>
          <a:xfrm>
            <a:off x="1212837" y="1449687"/>
            <a:ext cx="2495067" cy="2085512"/>
            <a:chOff x="1212837" y="1449687"/>
            <a:chExt cx="2495067" cy="2085512"/>
          </a:xfrm>
        </p:grpSpPr>
        <p:sp>
          <p:nvSpPr>
            <p:cNvPr id="34" name="Rechteck 33"/>
            <p:cNvSpPr/>
            <p:nvPr/>
          </p:nvSpPr>
          <p:spPr bwMode="auto">
            <a:xfrm>
              <a:off x="1291546" y="2116460"/>
              <a:ext cx="2408530" cy="1418739"/>
            </a:xfrm>
            <a:prstGeom prst="rect">
              <a:avLst/>
            </a:prstGeom>
            <a:solidFill>
              <a:srgbClr val="C6C4BF"/>
            </a:solidFill>
            <a:ln w="12700" algn="ctr">
              <a:noFill/>
              <a:miter lim="800000"/>
              <a:headEnd/>
              <a:tailEnd/>
            </a:ln>
          </p:spPr>
          <p:txBody>
            <a:bodyPr wrap="none" lIns="0" tIns="0" rIns="0" bIns="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kumimoji="1" lang="de-DE" sz="1200" dirty="0" smtClean="0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35" name="Rectangle 15"/>
            <p:cNvSpPr>
              <a:spLocks noChangeArrowheads="1"/>
            </p:cNvSpPr>
            <p:nvPr/>
          </p:nvSpPr>
          <p:spPr bwMode="auto">
            <a:xfrm>
              <a:off x="1340360" y="2125820"/>
              <a:ext cx="2257634" cy="1110899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wrap="none" lIns="0" tIns="72000" rIns="0" bIns="0"/>
            <a:lstStyle/>
            <a:p>
              <a:pPr marL="143996" indent="-143996">
                <a:buFont typeface="Wingdings" pitchFamily="2" charset="2"/>
                <a:buChar char="§"/>
              </a:pPr>
              <a:r>
                <a:rPr lang="en-US" sz="1000" dirty="0"/>
                <a:t>Managed </a:t>
              </a:r>
              <a:r>
                <a:rPr lang="en-US" sz="1000" dirty="0" smtClean="0"/>
                <a:t>lifecycle </a:t>
              </a:r>
              <a:br>
                <a:rPr lang="en-US" sz="1000" dirty="0" smtClean="0"/>
              </a:br>
              <a:r>
                <a:rPr lang="en-US" sz="1000" dirty="0" smtClean="0"/>
                <a:t>(typical 18 </a:t>
              </a:r>
              <a:r>
                <a:rPr lang="en-US" sz="1000" dirty="0"/>
                <a:t>months)</a:t>
              </a:r>
            </a:p>
            <a:p>
              <a:pPr marL="143996" indent="-143996">
                <a:buFont typeface="Wingdings" pitchFamily="2" charset="2"/>
                <a:buChar char="§"/>
              </a:pPr>
              <a:r>
                <a:rPr lang="en-US" sz="1000" dirty="0" smtClean="0"/>
                <a:t>All-out </a:t>
              </a:r>
              <a:r>
                <a:rPr lang="en-US" sz="1000" dirty="0"/>
                <a:t>picture quality</a:t>
              </a:r>
            </a:p>
            <a:p>
              <a:pPr marL="143996" indent="-143996">
                <a:buFont typeface="Wingdings" pitchFamily="2" charset="2"/>
                <a:buChar char="§"/>
              </a:pPr>
              <a:r>
                <a:rPr lang="en-US" sz="1000" dirty="0"/>
                <a:t>E</a:t>
              </a:r>
              <a:r>
                <a:rPr lang="en-US" sz="1000" dirty="0" smtClean="0"/>
                <a:t>rgonomic features suitable for TCO</a:t>
              </a:r>
            </a:p>
            <a:p>
              <a:pPr marL="143996" indent="-143996">
                <a:buFont typeface="Wingdings" pitchFamily="2" charset="2"/>
                <a:buChar char="§"/>
              </a:pPr>
              <a:r>
                <a:rPr lang="en-US" sz="1000" dirty="0" smtClean="0"/>
                <a:t>Multi-connectivity</a:t>
              </a:r>
              <a:endParaRPr lang="en-US" sz="1000" dirty="0"/>
            </a:p>
            <a:p>
              <a:pPr marL="143996" indent="-143996">
                <a:buFont typeface="Wingdings" pitchFamily="2" charset="2"/>
                <a:buChar char="§"/>
              </a:pPr>
              <a:r>
                <a:rPr lang="en-US" sz="1000" dirty="0"/>
                <a:t>Energy </a:t>
              </a:r>
              <a:r>
                <a:rPr lang="en-US" sz="1000" dirty="0" smtClean="0"/>
                <a:t>saving</a:t>
              </a:r>
            </a:p>
            <a:p>
              <a:pPr marL="143996" indent="-143996">
                <a:buFont typeface="Wingdings" pitchFamily="2" charset="2"/>
                <a:buChar char="§"/>
              </a:pPr>
              <a:r>
                <a:rPr lang="en-US" sz="1000" dirty="0" smtClean="0"/>
                <a:t>Audio support</a:t>
              </a:r>
              <a:endParaRPr lang="en-US" sz="1000" dirty="0"/>
            </a:p>
          </p:txBody>
        </p:sp>
        <p:sp>
          <p:nvSpPr>
            <p:cNvPr id="36" name="Rechteck 35"/>
            <p:cNvSpPr/>
            <p:nvPr/>
          </p:nvSpPr>
          <p:spPr bwMode="auto">
            <a:xfrm>
              <a:off x="1291546" y="1685401"/>
              <a:ext cx="2408530" cy="289752"/>
            </a:xfrm>
            <a:prstGeom prst="rect">
              <a:avLst/>
            </a:prstGeom>
            <a:solidFill>
              <a:srgbClr val="C6C4BF"/>
            </a:solidFill>
            <a:ln w="12700" algn="ctr">
              <a:noFill/>
              <a:miter lim="800000"/>
              <a:headEnd/>
              <a:tailEnd/>
            </a:ln>
          </p:spPr>
          <p:txBody>
            <a:bodyPr wrap="none" lIns="0" tIns="0" rIns="0" bIns="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kumimoji="1" lang="de-DE" sz="1200" dirty="0" smtClean="0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37" name="Textfeld 36"/>
            <p:cNvSpPr txBox="1"/>
            <p:nvPr/>
          </p:nvSpPr>
          <p:spPr>
            <a:xfrm>
              <a:off x="1253240" y="1711913"/>
              <a:ext cx="2166632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ctr">
                <a:spcBef>
                  <a:spcPct val="50000"/>
                </a:spcBef>
                <a:spcAft>
                  <a:spcPct val="0"/>
                </a:spcAft>
              </a:pPr>
              <a:r>
                <a:rPr lang="en-US" sz="1000" dirty="0" smtClean="0">
                  <a:ea typeface="MS UI Gothic" pitchFamily="50" charset="-128"/>
                </a:rPr>
                <a:t>Common office use</a:t>
              </a:r>
              <a:endParaRPr kumimoji="1" lang="en-US" sz="1000" b="1" dirty="0">
                <a:ea typeface="MS UI Gothic" pitchFamily="50" charset="-128"/>
              </a:endParaRPr>
            </a:p>
          </p:txBody>
        </p:sp>
        <p:cxnSp>
          <p:nvCxnSpPr>
            <p:cNvPr id="42" name="Gerade Verbindung 41"/>
            <p:cNvCxnSpPr/>
            <p:nvPr/>
          </p:nvCxnSpPr>
          <p:spPr>
            <a:xfrm>
              <a:off x="1292380" y="1685896"/>
              <a:ext cx="2407696" cy="0"/>
            </a:xfrm>
            <a:prstGeom prst="line">
              <a:avLst/>
            </a:prstGeom>
            <a:ln w="31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/>
          </p:nvCxnSpPr>
          <p:spPr>
            <a:xfrm>
              <a:off x="1292380" y="1975153"/>
              <a:ext cx="2407696" cy="0"/>
            </a:xfrm>
            <a:prstGeom prst="line">
              <a:avLst/>
            </a:prstGeom>
            <a:ln w="31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Textfeld 43"/>
            <p:cNvSpPr txBox="1"/>
            <p:nvPr/>
          </p:nvSpPr>
          <p:spPr>
            <a:xfrm>
              <a:off x="1212837" y="1449687"/>
              <a:ext cx="249506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600" spc="80" dirty="0" smtClean="0">
                  <a:solidFill>
                    <a:srgbClr val="C00000"/>
                  </a:solidFill>
                </a:rPr>
                <a:t>ALL-ROUND-LINE</a:t>
              </a:r>
              <a:endParaRPr lang="de-DE" sz="1600" spc="80" dirty="0">
                <a:solidFill>
                  <a:srgbClr val="C00000"/>
                </a:solidFill>
              </a:endParaRPr>
            </a:p>
          </p:txBody>
        </p:sp>
        <p:cxnSp>
          <p:nvCxnSpPr>
            <p:cNvPr id="45" name="Gerade Verbindung 44"/>
            <p:cNvCxnSpPr/>
            <p:nvPr/>
          </p:nvCxnSpPr>
          <p:spPr>
            <a:xfrm>
              <a:off x="1292380" y="2116460"/>
              <a:ext cx="2407696" cy="0"/>
            </a:xfrm>
            <a:prstGeom prst="line">
              <a:avLst/>
            </a:prstGeom>
            <a:ln w="31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5"/>
            <p:cNvCxnSpPr/>
            <p:nvPr/>
          </p:nvCxnSpPr>
          <p:spPr>
            <a:xfrm>
              <a:off x="1282855" y="3525675"/>
              <a:ext cx="2407696" cy="0"/>
            </a:xfrm>
            <a:prstGeom prst="line">
              <a:avLst/>
            </a:prstGeom>
            <a:ln w="31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" name="Gruppieren 4"/>
          <p:cNvGrpSpPr/>
          <p:nvPr/>
        </p:nvGrpSpPr>
        <p:grpSpPr>
          <a:xfrm>
            <a:off x="3710810" y="1124647"/>
            <a:ext cx="2495067" cy="2410554"/>
            <a:chOff x="3710810" y="1124647"/>
            <a:chExt cx="2495067" cy="2410554"/>
          </a:xfrm>
        </p:grpSpPr>
        <p:sp>
          <p:nvSpPr>
            <p:cNvPr id="48" name="Rechteck 47"/>
            <p:cNvSpPr/>
            <p:nvPr/>
          </p:nvSpPr>
          <p:spPr bwMode="auto">
            <a:xfrm>
              <a:off x="3789519" y="1760655"/>
              <a:ext cx="2408530" cy="1774546"/>
            </a:xfrm>
            <a:prstGeom prst="rect">
              <a:avLst/>
            </a:prstGeom>
            <a:solidFill>
              <a:srgbClr val="87867E"/>
            </a:solidFill>
            <a:ln w="12700" algn="ctr">
              <a:noFill/>
              <a:miter lim="800000"/>
              <a:headEnd/>
              <a:tailEnd/>
            </a:ln>
          </p:spPr>
          <p:txBody>
            <a:bodyPr wrap="none" lIns="0" tIns="0" rIns="0" bIns="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kumimoji="1" lang="de-DE" sz="1200" dirty="0" smtClean="0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49" name="Rectangle 15"/>
            <p:cNvSpPr>
              <a:spLocks noChangeArrowheads="1"/>
            </p:cNvSpPr>
            <p:nvPr/>
          </p:nvSpPr>
          <p:spPr bwMode="auto">
            <a:xfrm>
              <a:off x="3838333" y="1784354"/>
              <a:ext cx="2257634" cy="1433315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wrap="none" lIns="0" tIns="72000" rIns="0" bIns="0"/>
            <a:lstStyle/>
            <a:p>
              <a:pPr marL="143996" indent="-143996">
                <a:buFont typeface="Wingdings" pitchFamily="2" charset="2"/>
                <a:buChar char="§"/>
              </a:pPr>
              <a:r>
                <a:rPr lang="en-US" sz="1000" dirty="0">
                  <a:solidFill>
                    <a:schemeClr val="bg1"/>
                  </a:solidFill>
                </a:rPr>
                <a:t>Managed </a:t>
              </a:r>
              <a:r>
                <a:rPr lang="en-US" sz="1000" dirty="0" smtClean="0">
                  <a:solidFill>
                    <a:schemeClr val="bg1"/>
                  </a:solidFill>
                </a:rPr>
                <a:t>lifecycle </a:t>
              </a:r>
              <a:br>
                <a:rPr lang="en-US" sz="1000" dirty="0" smtClean="0">
                  <a:solidFill>
                    <a:schemeClr val="bg1"/>
                  </a:solidFill>
                </a:rPr>
              </a:br>
              <a:r>
                <a:rPr lang="en-US" sz="1000" dirty="0" smtClean="0">
                  <a:solidFill>
                    <a:schemeClr val="bg1"/>
                  </a:solidFill>
                </a:rPr>
                <a:t>(</a:t>
              </a:r>
              <a:r>
                <a:rPr lang="en-US" sz="1000" dirty="0">
                  <a:solidFill>
                    <a:schemeClr val="bg1"/>
                  </a:solidFill>
                </a:rPr>
                <a:t>typical</a:t>
              </a:r>
              <a:r>
                <a:rPr lang="en-US" sz="1000" dirty="0"/>
                <a:t> </a:t>
              </a:r>
              <a:r>
                <a:rPr lang="en-US" sz="1000" dirty="0" smtClean="0">
                  <a:solidFill>
                    <a:schemeClr val="bg1"/>
                  </a:solidFill>
                </a:rPr>
                <a:t>24 </a:t>
              </a:r>
              <a:r>
                <a:rPr lang="en-US" sz="1000" dirty="0">
                  <a:solidFill>
                    <a:schemeClr val="bg1"/>
                  </a:solidFill>
                </a:rPr>
                <a:t>months)</a:t>
              </a:r>
            </a:p>
            <a:p>
              <a:pPr marL="143996" indent="-143996">
                <a:buFont typeface="Wingdings" pitchFamily="2" charset="2"/>
                <a:buChar char="§"/>
              </a:pPr>
              <a:r>
                <a:rPr lang="en-US" sz="1000" dirty="0">
                  <a:solidFill>
                    <a:schemeClr val="bg1"/>
                  </a:solidFill>
                </a:rPr>
                <a:t>Outstanding </a:t>
              </a:r>
              <a:r>
                <a:rPr lang="en-US" sz="1000" dirty="0" smtClean="0">
                  <a:solidFill>
                    <a:schemeClr val="bg1"/>
                  </a:solidFill>
                </a:rPr>
                <a:t>workplace convenience </a:t>
              </a:r>
            </a:p>
            <a:p>
              <a:pPr marL="143996" indent="-143996">
                <a:buFont typeface="Wingdings" pitchFamily="2" charset="2"/>
                <a:buChar char="§"/>
              </a:pPr>
              <a:r>
                <a:rPr lang="en-US" sz="1000" dirty="0" smtClean="0">
                  <a:solidFill>
                    <a:schemeClr val="bg1"/>
                  </a:solidFill>
                </a:rPr>
                <a:t>Steady highest level </a:t>
              </a:r>
              <a:r>
                <a:rPr lang="en-US" sz="1000" dirty="0">
                  <a:solidFill>
                    <a:schemeClr val="bg1"/>
                  </a:solidFill>
                </a:rPr>
                <a:t>visual </a:t>
              </a:r>
              <a:r>
                <a:rPr lang="en-US" sz="1000" dirty="0" smtClean="0">
                  <a:solidFill>
                    <a:schemeClr val="bg1"/>
                  </a:solidFill>
                </a:rPr>
                <a:t>ergonomics</a:t>
              </a:r>
              <a:endParaRPr lang="en-US" sz="1000" dirty="0">
                <a:solidFill>
                  <a:schemeClr val="bg1"/>
                </a:solidFill>
              </a:endParaRPr>
            </a:p>
            <a:p>
              <a:pPr marL="143996" indent="-143996">
                <a:buFont typeface="Wingdings" pitchFamily="2" charset="2"/>
                <a:buChar char="§"/>
              </a:pPr>
              <a:r>
                <a:rPr lang="en-US" sz="1000" dirty="0" smtClean="0">
                  <a:solidFill>
                    <a:schemeClr val="bg1"/>
                  </a:solidFill>
                </a:rPr>
                <a:t>Flexible connectivity</a:t>
              </a:r>
              <a:endParaRPr lang="en-US" sz="1000" dirty="0">
                <a:solidFill>
                  <a:schemeClr val="bg1"/>
                </a:solidFill>
              </a:endParaRPr>
            </a:p>
            <a:p>
              <a:pPr marL="143996" indent="-143996">
                <a:buFont typeface="Wingdings" pitchFamily="2" charset="2"/>
                <a:buChar char="§"/>
              </a:pPr>
              <a:r>
                <a:rPr lang="en-US" sz="1000" dirty="0" smtClean="0">
                  <a:solidFill>
                    <a:schemeClr val="bg1"/>
                  </a:solidFill>
                </a:rPr>
                <a:t>Extremely energy-efficient</a:t>
              </a:r>
            </a:p>
            <a:p>
              <a:pPr marL="143996" indent="-143996">
                <a:buFont typeface="Wingdings" pitchFamily="2" charset="2"/>
                <a:buChar char="§"/>
              </a:pPr>
              <a:r>
                <a:rPr lang="en-US" sz="1000" dirty="0" smtClean="0">
                  <a:solidFill>
                    <a:schemeClr val="bg1"/>
                  </a:solidFill>
                </a:rPr>
                <a:t>Proved to 24/7 use</a:t>
              </a:r>
            </a:p>
            <a:p>
              <a:pPr marL="143996" indent="-143996">
                <a:buFont typeface="Wingdings" pitchFamily="2" charset="2"/>
                <a:buChar char="§"/>
              </a:pPr>
              <a:r>
                <a:rPr lang="en-US" sz="1000" dirty="0">
                  <a:solidFill>
                    <a:schemeClr val="bg1"/>
                  </a:solidFill>
                </a:rPr>
                <a:t>R</a:t>
              </a:r>
              <a:r>
                <a:rPr lang="en-US" sz="1000" dirty="0" smtClean="0">
                  <a:solidFill>
                    <a:schemeClr val="bg1"/>
                  </a:solidFill>
                </a:rPr>
                <a:t>emote administration support</a:t>
              </a:r>
              <a:endParaRPr lang="en-US" sz="1100" dirty="0">
                <a:solidFill>
                  <a:schemeClr val="bg1"/>
                </a:solidFill>
              </a:endParaRPr>
            </a:p>
            <a:p>
              <a:pPr>
                <a:buFont typeface="Wingdings" pitchFamily="2" charset="2"/>
                <a:buChar char="§"/>
              </a:pPr>
              <a:endParaRPr lang="en-US" sz="1100" dirty="0">
                <a:solidFill>
                  <a:schemeClr val="bg1"/>
                </a:solidFill>
                <a:ea typeface="MS UI Gothic"/>
              </a:endParaRPr>
            </a:p>
          </p:txBody>
        </p:sp>
        <p:sp>
          <p:nvSpPr>
            <p:cNvPr id="50" name="Rechteck 49"/>
            <p:cNvSpPr/>
            <p:nvPr/>
          </p:nvSpPr>
          <p:spPr bwMode="auto">
            <a:xfrm>
              <a:off x="3789519" y="1360361"/>
              <a:ext cx="2408530" cy="289752"/>
            </a:xfrm>
            <a:prstGeom prst="rect">
              <a:avLst/>
            </a:prstGeom>
            <a:solidFill>
              <a:srgbClr val="87867E"/>
            </a:solidFill>
            <a:ln w="12700" algn="ctr">
              <a:noFill/>
              <a:miter lim="800000"/>
              <a:headEnd/>
              <a:tailEnd/>
            </a:ln>
          </p:spPr>
          <p:txBody>
            <a:bodyPr wrap="none" lIns="0" tIns="0" rIns="0" bIns="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kumimoji="1" lang="de-DE" sz="1200" dirty="0" smtClean="0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51" name="Textfeld 50"/>
            <p:cNvSpPr txBox="1"/>
            <p:nvPr/>
          </p:nvSpPr>
          <p:spPr>
            <a:xfrm>
              <a:off x="3751213" y="1390968"/>
              <a:ext cx="2370633" cy="3847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ctr">
                <a:spcBef>
                  <a:spcPct val="50000"/>
                </a:spcBef>
                <a:spcAft>
                  <a:spcPct val="0"/>
                </a:spcAft>
              </a:pPr>
              <a:r>
                <a:rPr lang="de-DE" altLang="ja-JP" sz="1000" dirty="0" smtClean="0">
                  <a:solidFill>
                    <a:schemeClr val="bg1"/>
                  </a:solidFill>
                  <a:ea typeface="MS UI Gothic" pitchFamily="50" charset="-128"/>
                </a:rPr>
                <a:t>Permanent</a:t>
              </a:r>
              <a:r>
                <a:rPr lang="en-US" altLang="ja-JP" sz="1000" dirty="0" smtClean="0">
                  <a:solidFill>
                    <a:schemeClr val="bg1"/>
                  </a:solidFill>
                  <a:ea typeface="MS UI Gothic" pitchFamily="50" charset="-128"/>
                </a:rPr>
                <a:t> </a:t>
              </a:r>
              <a:r>
                <a:rPr lang="en-US" altLang="ja-JP" sz="1000" dirty="0">
                  <a:solidFill>
                    <a:schemeClr val="bg1"/>
                  </a:solidFill>
                  <a:ea typeface="MS UI Gothic" pitchFamily="50" charset="-128"/>
                </a:rPr>
                <a:t>office </a:t>
              </a:r>
              <a:r>
                <a:rPr lang="de-DE" sz="1000" dirty="0" err="1">
                  <a:solidFill>
                    <a:schemeClr val="bg1"/>
                  </a:solidFill>
                  <a:ea typeface="MS UI Gothic" pitchFamily="50" charset="-128"/>
                </a:rPr>
                <a:t>use</a:t>
              </a:r>
              <a:endParaRPr lang="en-US" altLang="ja-JP" sz="1000" dirty="0">
                <a:solidFill>
                  <a:schemeClr val="bg1"/>
                </a:solidFill>
                <a:ea typeface="MS UI Gothic" pitchFamily="50" charset="-128"/>
              </a:endParaRPr>
            </a:p>
            <a:p>
              <a:pPr algn="ctr"/>
              <a:endParaRPr lang="de-DE" sz="900" dirty="0">
                <a:solidFill>
                  <a:schemeClr val="bg1"/>
                </a:solidFill>
                <a:cs typeface="Arial" charset="0"/>
              </a:endParaRPr>
            </a:p>
          </p:txBody>
        </p:sp>
        <p:cxnSp>
          <p:nvCxnSpPr>
            <p:cNvPr id="52" name="Gerade Verbindung 51"/>
            <p:cNvCxnSpPr/>
            <p:nvPr/>
          </p:nvCxnSpPr>
          <p:spPr>
            <a:xfrm>
              <a:off x="3790353" y="1360856"/>
              <a:ext cx="2407696" cy="0"/>
            </a:xfrm>
            <a:prstGeom prst="line">
              <a:avLst/>
            </a:prstGeom>
            <a:ln w="31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/>
          </p:nvCxnSpPr>
          <p:spPr>
            <a:xfrm>
              <a:off x="3790353" y="1650113"/>
              <a:ext cx="2407696" cy="0"/>
            </a:xfrm>
            <a:prstGeom prst="line">
              <a:avLst/>
            </a:prstGeom>
            <a:ln w="31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4" name="Textfeld 53"/>
            <p:cNvSpPr txBox="1"/>
            <p:nvPr/>
          </p:nvSpPr>
          <p:spPr>
            <a:xfrm>
              <a:off x="3710810" y="1124647"/>
              <a:ext cx="249506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600" spc="80" dirty="0" smtClean="0">
                  <a:solidFill>
                    <a:srgbClr val="C00000"/>
                  </a:solidFill>
                </a:rPr>
                <a:t>ADVANCED LINE</a:t>
              </a:r>
              <a:endParaRPr lang="de-DE" sz="1600" spc="80" dirty="0">
                <a:solidFill>
                  <a:srgbClr val="C00000"/>
                </a:solidFill>
              </a:endParaRPr>
            </a:p>
          </p:txBody>
        </p:sp>
        <p:cxnSp>
          <p:nvCxnSpPr>
            <p:cNvPr id="55" name="Gerade Verbindung 54"/>
            <p:cNvCxnSpPr/>
            <p:nvPr/>
          </p:nvCxnSpPr>
          <p:spPr>
            <a:xfrm>
              <a:off x="3790353" y="1772370"/>
              <a:ext cx="2407696" cy="0"/>
            </a:xfrm>
            <a:prstGeom prst="line">
              <a:avLst/>
            </a:prstGeom>
            <a:ln w="31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/>
          </p:nvCxnSpPr>
          <p:spPr>
            <a:xfrm>
              <a:off x="3790353" y="3535200"/>
              <a:ext cx="2407696" cy="0"/>
            </a:xfrm>
            <a:prstGeom prst="line">
              <a:avLst/>
            </a:prstGeom>
            <a:ln w="31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" name="Gruppieren 2"/>
          <p:cNvGrpSpPr/>
          <p:nvPr/>
        </p:nvGrpSpPr>
        <p:grpSpPr>
          <a:xfrm>
            <a:off x="6202306" y="810009"/>
            <a:ext cx="2487239" cy="2809492"/>
            <a:chOff x="6202306" y="810009"/>
            <a:chExt cx="2487239" cy="2809492"/>
          </a:xfrm>
        </p:grpSpPr>
        <p:sp>
          <p:nvSpPr>
            <p:cNvPr id="58" name="Rechteck 57"/>
            <p:cNvSpPr/>
            <p:nvPr/>
          </p:nvSpPr>
          <p:spPr bwMode="auto">
            <a:xfrm>
              <a:off x="6281015" y="1533525"/>
              <a:ext cx="2408530" cy="2001676"/>
            </a:xfrm>
            <a:prstGeom prst="rect">
              <a:avLst/>
            </a:prstGeom>
            <a:solidFill>
              <a:srgbClr val="62150C"/>
            </a:solidFill>
            <a:ln w="12700" algn="ctr">
              <a:noFill/>
              <a:miter lim="800000"/>
              <a:headEnd/>
              <a:tailEnd/>
            </a:ln>
          </p:spPr>
          <p:txBody>
            <a:bodyPr wrap="none" lIns="0" tIns="0" rIns="0" bIns="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kumimoji="1" lang="de-DE" sz="1200" dirty="0" smtClean="0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59" name="Rectangle 15"/>
            <p:cNvSpPr>
              <a:spLocks noChangeArrowheads="1"/>
            </p:cNvSpPr>
            <p:nvPr/>
          </p:nvSpPr>
          <p:spPr bwMode="auto">
            <a:xfrm>
              <a:off x="6328834" y="1484671"/>
              <a:ext cx="2257634" cy="2134830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wrap="none" lIns="0" tIns="72000" rIns="0" bIns="0"/>
            <a:lstStyle/>
            <a:p>
              <a:pPr marL="143996" indent="-143996">
                <a:buFont typeface="Wingdings" pitchFamily="2" charset="2"/>
                <a:buChar char="§"/>
              </a:pPr>
              <a:r>
                <a:rPr lang="en-US" sz="1000" dirty="0">
                  <a:solidFill>
                    <a:schemeClr val="bg1"/>
                  </a:solidFill>
                </a:rPr>
                <a:t>Managed </a:t>
              </a:r>
              <a:r>
                <a:rPr lang="en-US" sz="1000" dirty="0" smtClean="0">
                  <a:solidFill>
                    <a:schemeClr val="bg1"/>
                  </a:solidFill>
                </a:rPr>
                <a:t>lifecycle</a:t>
              </a:r>
              <a:br>
                <a:rPr lang="en-US" sz="1000" dirty="0" smtClean="0">
                  <a:solidFill>
                    <a:schemeClr val="bg1"/>
                  </a:solidFill>
                </a:rPr>
              </a:br>
              <a:r>
                <a:rPr lang="en-US" sz="1000" dirty="0" smtClean="0">
                  <a:solidFill>
                    <a:schemeClr val="bg1"/>
                  </a:solidFill>
                </a:rPr>
                <a:t>(typical</a:t>
              </a:r>
              <a:r>
                <a:rPr lang="en-US" sz="1000" dirty="0" smtClean="0">
                  <a:solidFill>
                    <a:srgbClr val="00B0F0"/>
                  </a:solidFill>
                </a:rPr>
                <a:t> </a:t>
              </a:r>
              <a:r>
                <a:rPr lang="en-US" sz="1000" dirty="0" smtClean="0">
                  <a:solidFill>
                    <a:schemeClr val="bg1"/>
                  </a:solidFill>
                </a:rPr>
                <a:t>24 </a:t>
              </a:r>
              <a:r>
                <a:rPr lang="en-US" sz="1000" dirty="0">
                  <a:solidFill>
                    <a:schemeClr val="bg1"/>
                  </a:solidFill>
                </a:rPr>
                <a:t>months)</a:t>
              </a:r>
            </a:p>
            <a:p>
              <a:pPr marL="143996" indent="-143996">
                <a:buFont typeface="Wingdings" pitchFamily="2" charset="2"/>
                <a:buChar char="§"/>
              </a:pPr>
              <a:r>
                <a:rPr lang="en-US" sz="1000" dirty="0" smtClean="0">
                  <a:solidFill>
                    <a:schemeClr val="bg1"/>
                  </a:solidFill>
                </a:rPr>
                <a:t>Premium </a:t>
              </a:r>
              <a:r>
                <a:rPr lang="en-US" sz="1000" dirty="0">
                  <a:solidFill>
                    <a:schemeClr val="bg1"/>
                  </a:solidFill>
                </a:rPr>
                <a:t>picture </a:t>
              </a:r>
              <a:r>
                <a:rPr lang="en-US" sz="1000" dirty="0" smtClean="0">
                  <a:solidFill>
                    <a:schemeClr val="bg1"/>
                  </a:solidFill>
                </a:rPr>
                <a:t>performance </a:t>
              </a:r>
              <a:r>
                <a:rPr lang="en-US" sz="1000" dirty="0">
                  <a:solidFill>
                    <a:schemeClr val="bg1"/>
                  </a:solidFill>
                </a:rPr>
                <a:t/>
              </a:r>
              <a:br>
                <a:rPr lang="en-US" sz="1000" dirty="0">
                  <a:solidFill>
                    <a:schemeClr val="bg1"/>
                  </a:solidFill>
                </a:rPr>
              </a:br>
              <a:r>
                <a:rPr lang="en-US" sz="1000" dirty="0" smtClean="0">
                  <a:solidFill>
                    <a:schemeClr val="bg1"/>
                  </a:solidFill>
                </a:rPr>
                <a:t>by individual calibrated screens</a:t>
              </a:r>
              <a:endParaRPr lang="en-US" sz="1000" dirty="0">
                <a:solidFill>
                  <a:schemeClr val="bg1"/>
                </a:solidFill>
              </a:endParaRPr>
            </a:p>
            <a:p>
              <a:pPr marL="143996" indent="-143996">
                <a:buFont typeface="Wingdings" pitchFamily="2" charset="2"/>
                <a:buChar char="§"/>
              </a:pPr>
              <a:r>
                <a:rPr lang="en-US" sz="1000" dirty="0">
                  <a:solidFill>
                    <a:schemeClr val="bg1"/>
                  </a:solidFill>
                </a:rPr>
                <a:t>Outstanding </a:t>
              </a:r>
              <a:r>
                <a:rPr lang="en-US" sz="1000" dirty="0" smtClean="0">
                  <a:solidFill>
                    <a:schemeClr val="bg1"/>
                  </a:solidFill>
                </a:rPr>
                <a:t>workplace ergonomics</a:t>
              </a:r>
              <a:endParaRPr lang="en-US" sz="1000" dirty="0">
                <a:solidFill>
                  <a:schemeClr val="bg1"/>
                </a:solidFill>
              </a:endParaRPr>
            </a:p>
            <a:p>
              <a:pPr marL="143996" indent="-143996">
                <a:buFont typeface="Wingdings" pitchFamily="2" charset="2"/>
                <a:buChar char="§"/>
              </a:pPr>
              <a:r>
                <a:rPr lang="en-US" sz="1000" dirty="0">
                  <a:solidFill>
                    <a:schemeClr val="bg1"/>
                  </a:solidFill>
                </a:rPr>
                <a:t>B</a:t>
              </a:r>
              <a:r>
                <a:rPr lang="en-US" sz="1000" dirty="0" smtClean="0">
                  <a:solidFill>
                    <a:schemeClr val="bg1"/>
                  </a:solidFill>
                </a:rPr>
                <a:t>est usability with sensor support</a:t>
              </a:r>
            </a:p>
            <a:p>
              <a:pPr marL="143996" indent="-143996">
                <a:buFont typeface="Wingdings" pitchFamily="2" charset="2"/>
                <a:buChar char="§"/>
              </a:pPr>
              <a:r>
                <a:rPr lang="en-US" sz="1000" dirty="0">
                  <a:solidFill>
                    <a:schemeClr val="bg1"/>
                  </a:solidFill>
                </a:rPr>
                <a:t>Cutting-edge </a:t>
              </a:r>
              <a:r>
                <a:rPr lang="en-US" sz="1000" dirty="0" smtClean="0">
                  <a:solidFill>
                    <a:schemeClr val="bg1"/>
                  </a:solidFill>
                </a:rPr>
                <a:t>connectivity</a:t>
              </a:r>
            </a:p>
            <a:p>
              <a:pPr marL="143996" indent="-143996">
                <a:buFont typeface="Wingdings" pitchFamily="2" charset="2"/>
                <a:buChar char="§"/>
              </a:pPr>
              <a:r>
                <a:rPr lang="en-US" sz="1000" dirty="0">
                  <a:solidFill>
                    <a:schemeClr val="bg1"/>
                  </a:solidFill>
                </a:rPr>
                <a:t>Pioneering </a:t>
              </a:r>
              <a:r>
                <a:rPr lang="en-US" sz="1000" dirty="0" smtClean="0">
                  <a:solidFill>
                    <a:schemeClr val="bg1"/>
                  </a:solidFill>
                </a:rPr>
                <a:t>energy-efficiency</a:t>
              </a:r>
            </a:p>
            <a:p>
              <a:pPr marL="143996" indent="-143996">
                <a:buFont typeface="Wingdings" pitchFamily="2" charset="2"/>
                <a:buChar char="§"/>
              </a:pPr>
              <a:r>
                <a:rPr lang="en-US" sz="1000" dirty="0" smtClean="0">
                  <a:solidFill>
                    <a:schemeClr val="bg1"/>
                  </a:solidFill>
                </a:rPr>
                <a:t>Designed to 24/7 use </a:t>
              </a:r>
              <a:endParaRPr lang="en-US" sz="1000" dirty="0">
                <a:solidFill>
                  <a:schemeClr val="bg1"/>
                </a:solidFill>
              </a:endParaRPr>
            </a:p>
            <a:p>
              <a:pPr marL="143996" indent="-143996">
                <a:buFont typeface="Wingdings" pitchFamily="2" charset="2"/>
                <a:buChar char="§"/>
              </a:pPr>
              <a:r>
                <a:rPr lang="en-US" sz="1000" dirty="0">
                  <a:solidFill>
                    <a:schemeClr val="bg1"/>
                  </a:solidFill>
                </a:rPr>
                <a:t>R</a:t>
              </a:r>
              <a:r>
                <a:rPr lang="en-US" sz="1000" dirty="0" smtClean="0">
                  <a:solidFill>
                    <a:schemeClr val="bg1"/>
                  </a:solidFill>
                </a:rPr>
                <a:t>emote administration support</a:t>
              </a:r>
              <a:endParaRPr lang="en-US" sz="1000" dirty="0">
                <a:solidFill>
                  <a:schemeClr val="bg1"/>
                </a:solidFill>
              </a:endParaRPr>
            </a:p>
            <a:p>
              <a:pPr fontAlgn="base">
                <a:spcBef>
                  <a:spcPts val="200"/>
                </a:spcBef>
              </a:pPr>
              <a:endParaRPr lang="en-US" sz="1100" dirty="0">
                <a:solidFill>
                  <a:schemeClr val="bg1"/>
                </a:solidFill>
                <a:ea typeface="MS UI Gothic" pitchFamily="34" charset="-128"/>
              </a:endParaRPr>
            </a:p>
          </p:txBody>
        </p:sp>
        <p:sp>
          <p:nvSpPr>
            <p:cNvPr id="60" name="Rechteck 59"/>
            <p:cNvSpPr/>
            <p:nvPr/>
          </p:nvSpPr>
          <p:spPr bwMode="auto">
            <a:xfrm>
              <a:off x="6281015" y="1055997"/>
              <a:ext cx="2408530" cy="326735"/>
            </a:xfrm>
            <a:prstGeom prst="rect">
              <a:avLst/>
            </a:prstGeom>
            <a:solidFill>
              <a:srgbClr val="62150C"/>
            </a:solidFill>
            <a:ln w="12700" algn="ctr">
              <a:noFill/>
              <a:miter lim="800000"/>
              <a:headEnd/>
              <a:tailEnd/>
            </a:ln>
          </p:spPr>
          <p:txBody>
            <a:bodyPr wrap="none" lIns="0" tIns="0" rIns="0" bIns="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kumimoji="1" lang="de-DE" sz="1200" dirty="0" smtClean="0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61" name="Textfeld 60"/>
            <p:cNvSpPr txBox="1"/>
            <p:nvPr/>
          </p:nvSpPr>
          <p:spPr>
            <a:xfrm>
              <a:off x="6242709" y="1116677"/>
              <a:ext cx="244683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base">
                <a:defRPr/>
              </a:pPr>
              <a:r>
                <a:rPr lang="en-US" altLang="ja-JP" sz="1000" dirty="0">
                  <a:solidFill>
                    <a:schemeClr val="bg1"/>
                  </a:solidFill>
                  <a:ea typeface="ＭＳ Ｐゴシック"/>
                </a:rPr>
                <a:t>F</a:t>
              </a:r>
              <a:r>
                <a:rPr lang="en-US" altLang="ja-JP" sz="1000" dirty="0" smtClean="0">
                  <a:solidFill>
                    <a:schemeClr val="bg1"/>
                  </a:solidFill>
                  <a:ea typeface="ＭＳ Ｐゴシック"/>
                </a:rPr>
                <a:t>uture-oriented </a:t>
              </a:r>
              <a:r>
                <a:rPr lang="en-US" altLang="ja-JP" sz="1000" dirty="0">
                  <a:solidFill>
                    <a:schemeClr val="bg1"/>
                  </a:solidFill>
                  <a:ea typeface="ＭＳ Ｐゴシック"/>
                </a:rPr>
                <a:t>power pack</a:t>
              </a:r>
            </a:p>
          </p:txBody>
        </p:sp>
        <p:cxnSp>
          <p:nvCxnSpPr>
            <p:cNvPr id="62" name="Gerade Verbindung 61"/>
            <p:cNvCxnSpPr/>
            <p:nvPr/>
          </p:nvCxnSpPr>
          <p:spPr>
            <a:xfrm>
              <a:off x="6281849" y="1056492"/>
              <a:ext cx="2407696" cy="0"/>
            </a:xfrm>
            <a:prstGeom prst="line">
              <a:avLst/>
            </a:prstGeom>
            <a:ln w="31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62"/>
            <p:cNvCxnSpPr/>
            <p:nvPr/>
          </p:nvCxnSpPr>
          <p:spPr>
            <a:xfrm>
              <a:off x="6281849" y="1382732"/>
              <a:ext cx="2407696" cy="0"/>
            </a:xfrm>
            <a:prstGeom prst="line">
              <a:avLst/>
            </a:prstGeom>
            <a:ln w="31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4" name="Textfeld 63"/>
            <p:cNvSpPr txBox="1"/>
            <p:nvPr/>
          </p:nvSpPr>
          <p:spPr>
            <a:xfrm>
              <a:off x="6202306" y="810009"/>
              <a:ext cx="2206921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600" spc="80" dirty="0" smtClean="0">
                  <a:solidFill>
                    <a:srgbClr val="C00000"/>
                  </a:solidFill>
                </a:rPr>
                <a:t>SUPERIOR LINE</a:t>
              </a:r>
              <a:endParaRPr lang="de-DE" sz="1600" spc="80" dirty="0">
                <a:solidFill>
                  <a:srgbClr val="C00000"/>
                </a:solidFill>
              </a:endParaRPr>
            </a:p>
          </p:txBody>
        </p:sp>
        <p:cxnSp>
          <p:nvCxnSpPr>
            <p:cNvPr id="65" name="Gerade Verbindung 64"/>
            <p:cNvCxnSpPr/>
            <p:nvPr/>
          </p:nvCxnSpPr>
          <p:spPr>
            <a:xfrm>
              <a:off x="6281849" y="1525707"/>
              <a:ext cx="2407696" cy="0"/>
            </a:xfrm>
            <a:prstGeom prst="line">
              <a:avLst/>
            </a:prstGeom>
            <a:ln w="31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 Verbindung 65"/>
            <p:cNvCxnSpPr/>
            <p:nvPr/>
          </p:nvCxnSpPr>
          <p:spPr>
            <a:xfrm>
              <a:off x="6281849" y="3535200"/>
              <a:ext cx="2407696" cy="0"/>
            </a:xfrm>
            <a:prstGeom prst="line">
              <a:avLst/>
            </a:prstGeom>
            <a:ln w="31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8993235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1802" y="1318604"/>
            <a:ext cx="1188512" cy="892083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4348" y="1347479"/>
            <a:ext cx="909920" cy="800729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54147" y="1289863"/>
            <a:ext cx="956353" cy="945101"/>
          </a:xfrm>
          <a:prstGeom prst="rect">
            <a:avLst/>
          </a:prstGeom>
        </p:spPr>
      </p:pic>
      <p:pic>
        <p:nvPicPr>
          <p:cNvPr id="3" name="Grafik 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8886" y="1284099"/>
            <a:ext cx="997102" cy="985371"/>
          </a:xfrm>
          <a:prstGeom prst="rect">
            <a:avLst/>
          </a:prstGeom>
        </p:spPr>
      </p:pic>
      <p:sp>
        <p:nvSpPr>
          <p:cNvPr id="826428" name="Rectangle 60"/>
          <p:cNvSpPr>
            <a:spLocks noGrp="1" noChangeArrowheads="1"/>
          </p:cNvSpPr>
          <p:nvPr>
            <p:ph type="title"/>
          </p:nvPr>
        </p:nvSpPr>
        <p:spPr>
          <a:xfrm>
            <a:off x="252000" y="180000"/>
            <a:ext cx="7970838" cy="509588"/>
          </a:xfrm>
        </p:spPr>
        <p:txBody>
          <a:bodyPr/>
          <a:lstStyle/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en-US" altLang="ja-JP" sz="2800" kern="1200" dirty="0" smtClean="0"/>
              <a:t>Portfolio Roadmap Displays</a:t>
            </a:r>
            <a:endParaRPr kumimoji="1" lang="en-US" altLang="ja-JP" sz="2800" kern="1200" dirty="0"/>
          </a:p>
        </p:txBody>
      </p:sp>
      <p:grpSp>
        <p:nvGrpSpPr>
          <p:cNvPr id="37" name="Gruppieren 36"/>
          <p:cNvGrpSpPr/>
          <p:nvPr/>
        </p:nvGrpSpPr>
        <p:grpSpPr>
          <a:xfrm>
            <a:off x="274524" y="2018581"/>
            <a:ext cx="2156400" cy="2885931"/>
            <a:chOff x="344484" y="2227879"/>
            <a:chExt cx="1978029" cy="2639235"/>
          </a:xfrm>
        </p:grpSpPr>
        <p:sp>
          <p:nvSpPr>
            <p:cNvPr id="38" name="Rechteck 37"/>
            <p:cNvSpPr/>
            <p:nvPr/>
          </p:nvSpPr>
          <p:spPr bwMode="auto">
            <a:xfrm>
              <a:off x="350837" y="2239884"/>
              <a:ext cx="1971424" cy="164613"/>
            </a:xfrm>
            <a:prstGeom prst="rect">
              <a:avLst/>
            </a:prstGeom>
            <a:solidFill>
              <a:srgbClr val="C6C4BF"/>
            </a:solidFill>
            <a:ln w="12700" algn="ctr">
              <a:noFill/>
              <a:miter lim="800000"/>
              <a:headEnd/>
              <a:tailEnd/>
            </a:ln>
          </p:spPr>
          <p:txBody>
            <a:bodyPr wrap="none" lIns="0" tIns="0" rIns="0" bIns="0" rtlCol="0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900" dirty="0" smtClean="0">
                  <a:solidFill>
                    <a:srgbClr val="000000"/>
                  </a:solidFill>
                </a:rPr>
                <a:t> E Line</a:t>
              </a:r>
              <a:endParaRPr lang="en-US" sz="900" dirty="0">
                <a:solidFill>
                  <a:srgbClr val="000000"/>
                </a:solidFill>
              </a:endParaRPr>
            </a:p>
          </p:txBody>
        </p:sp>
        <p:cxnSp>
          <p:nvCxnSpPr>
            <p:cNvPr id="39" name="Gerade Verbindung 38"/>
            <p:cNvCxnSpPr/>
            <p:nvPr/>
          </p:nvCxnSpPr>
          <p:spPr>
            <a:xfrm flipV="1">
              <a:off x="344484" y="2227879"/>
              <a:ext cx="1971675" cy="96"/>
            </a:xfrm>
            <a:prstGeom prst="line">
              <a:avLst/>
            </a:prstGeom>
            <a:ln w="31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/>
          </p:nvCxnSpPr>
          <p:spPr>
            <a:xfrm>
              <a:off x="344484" y="2410099"/>
              <a:ext cx="1971676" cy="3374"/>
            </a:xfrm>
            <a:prstGeom prst="line">
              <a:avLst/>
            </a:prstGeom>
            <a:ln w="31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Rechteck 40"/>
            <p:cNvSpPr/>
            <p:nvPr/>
          </p:nvSpPr>
          <p:spPr bwMode="auto">
            <a:xfrm>
              <a:off x="348731" y="2472271"/>
              <a:ext cx="1973782" cy="2394843"/>
            </a:xfrm>
            <a:prstGeom prst="rect">
              <a:avLst/>
            </a:prstGeom>
            <a:solidFill>
              <a:srgbClr val="D9D9D9">
                <a:alpha val="65098"/>
              </a:srgbClr>
            </a:solidFill>
            <a:ln w="12700" algn="ctr">
              <a:noFill/>
              <a:miter lim="800000"/>
              <a:headEnd/>
              <a:tailEnd/>
            </a:ln>
          </p:spPr>
          <p:txBody>
            <a:bodyPr wrap="none" lIns="0" tIns="0" rIns="0" bIns="0" rtlCol="0" anchor="t"/>
            <a:lstStyle/>
            <a:p>
              <a:pPr marL="90000" lvl="1" indent="-90000" fontAlgn="base">
                <a:spcBef>
                  <a:spcPts val="200"/>
                </a:spcBef>
                <a:buClr>
                  <a:srgbClr val="000000"/>
                </a:buClr>
                <a:buSzPct val="100000"/>
                <a:buFont typeface="Wingdings" pitchFamily="2" charset="2"/>
                <a:buChar char="§"/>
              </a:pPr>
              <a:r>
                <a:rPr lang="en-US" sz="800" u="sng" dirty="0" smtClean="0">
                  <a:latin typeface="Arial" pitchFamily="34" charset="0"/>
                  <a:ea typeface="MS UI Gothic" pitchFamily="34" charset="-128"/>
                </a:rPr>
                <a:t>Housing:</a:t>
              </a:r>
              <a:r>
                <a:rPr lang="en-US" sz="800" dirty="0" smtClean="0">
                  <a:latin typeface="Arial" pitchFamily="34" charset="0"/>
                  <a:ea typeface="MS UI Gothic" pitchFamily="34" charset="-128"/>
                </a:rPr>
                <a:t> </a:t>
              </a:r>
              <a:r>
                <a:rPr lang="en-US" sz="800" dirty="0">
                  <a:latin typeface="Arial" pitchFamily="34" charset="0"/>
                  <a:ea typeface="MS UI Gothic" pitchFamily="34" charset="-128"/>
                </a:rPr>
                <a:t>M</a:t>
              </a:r>
              <a:r>
                <a:rPr lang="en-US" sz="800" dirty="0" smtClean="0">
                  <a:latin typeface="Arial" pitchFamily="34" charset="0"/>
                  <a:ea typeface="MS UI Gothic" pitchFamily="34" charset="-128"/>
                </a:rPr>
                <a:t>att black</a:t>
              </a:r>
            </a:p>
            <a:p>
              <a:pPr marL="90000" lvl="1" indent="-90000" fontAlgn="base">
                <a:spcBef>
                  <a:spcPts val="200"/>
                </a:spcBef>
                <a:buClr>
                  <a:srgbClr val="000000"/>
                </a:buClr>
                <a:buSzPct val="100000"/>
                <a:buFont typeface="Wingdings" pitchFamily="2" charset="2"/>
                <a:buChar char="§"/>
              </a:pPr>
              <a:r>
                <a:rPr lang="en-US" sz="800" u="sng" dirty="0" smtClean="0">
                  <a:solidFill>
                    <a:srgbClr val="000000"/>
                  </a:solidFill>
                  <a:latin typeface="Arial" pitchFamily="34" charset="0"/>
                  <a:ea typeface="MS UI Gothic" pitchFamily="34" charset="-128"/>
                </a:rPr>
                <a:t>Stand base: </a:t>
              </a:r>
            </a:p>
            <a:p>
              <a:pPr marL="547200" lvl="2" indent="-90000" fontAlgn="base">
                <a:spcBef>
                  <a:spcPts val="200"/>
                </a:spcBef>
                <a:buClr>
                  <a:srgbClr val="000000"/>
                </a:buClr>
                <a:buSzPct val="100000"/>
                <a:buFont typeface="Wingdings" pitchFamily="2" charset="2"/>
                <a:buChar char="§"/>
              </a:pPr>
              <a:r>
                <a:rPr lang="en-US" sz="800" dirty="0" smtClean="0">
                  <a:solidFill>
                    <a:srgbClr val="000000"/>
                  </a:solidFill>
                  <a:latin typeface="Arial" pitchFamily="34" charset="0"/>
                  <a:ea typeface="MS UI Gothic" pitchFamily="34" charset="-128"/>
                </a:rPr>
                <a:t>Tilt ≥ 20°, detachable                     </a:t>
              </a:r>
            </a:p>
            <a:p>
              <a:pPr marL="547200" lvl="2" indent="-90000" fontAlgn="base">
                <a:spcBef>
                  <a:spcPts val="200"/>
                </a:spcBef>
                <a:buClr>
                  <a:srgbClr val="000000"/>
                </a:buClr>
                <a:buSzPct val="100000"/>
                <a:buFont typeface="Wingdings" pitchFamily="2" charset="2"/>
                <a:buChar char="§"/>
              </a:pPr>
              <a:r>
                <a:rPr lang="en-US" sz="800" dirty="0" smtClean="0">
                  <a:solidFill>
                    <a:srgbClr val="000000"/>
                  </a:solidFill>
                  <a:latin typeface="Arial" pitchFamily="34" charset="0"/>
                  <a:ea typeface="MS UI Gothic" pitchFamily="34" charset="-128"/>
                </a:rPr>
                <a:t>VESA mount 100 mm	</a:t>
              </a:r>
            </a:p>
            <a:p>
              <a:pPr marL="90000" lvl="1" indent="-90000" fontAlgn="base">
                <a:spcBef>
                  <a:spcPts val="200"/>
                </a:spcBef>
                <a:buClr>
                  <a:srgbClr val="000000"/>
                </a:buClr>
                <a:buSzPct val="100000"/>
                <a:buFont typeface="Wingdings" pitchFamily="2" charset="2"/>
                <a:buChar char="§"/>
              </a:pPr>
              <a:r>
                <a:rPr lang="en-US" sz="800" u="sng" dirty="0" smtClean="0">
                  <a:solidFill>
                    <a:srgbClr val="000000"/>
                  </a:solidFill>
                  <a:latin typeface="Arial" pitchFamily="34" charset="0"/>
                  <a:ea typeface="MS UI Gothic" pitchFamily="34" charset="-128"/>
                </a:rPr>
                <a:t>Interfaces</a:t>
              </a:r>
              <a:r>
                <a:rPr lang="en-US" sz="800" u="sng" dirty="0">
                  <a:solidFill>
                    <a:srgbClr val="000000"/>
                  </a:solidFill>
                  <a:latin typeface="Arial" pitchFamily="34" charset="0"/>
                  <a:ea typeface="MS UI Gothic" pitchFamily="34" charset="-128"/>
                </a:rPr>
                <a:t>:</a:t>
              </a:r>
              <a:r>
                <a:rPr lang="en-US" sz="800" dirty="0">
                  <a:solidFill>
                    <a:srgbClr val="000000"/>
                  </a:solidFill>
                  <a:latin typeface="Arial" pitchFamily="34" charset="0"/>
                  <a:ea typeface="MS UI Gothic" pitchFamily="34" charset="-128"/>
                </a:rPr>
                <a:t> </a:t>
              </a:r>
              <a:endParaRPr lang="en-US" sz="800" dirty="0" smtClean="0">
                <a:solidFill>
                  <a:srgbClr val="000000"/>
                </a:solidFill>
                <a:latin typeface="Arial" pitchFamily="34" charset="0"/>
                <a:ea typeface="MS UI Gothic" pitchFamily="34" charset="-128"/>
              </a:endParaRPr>
            </a:p>
            <a:p>
              <a:pPr marL="547200" lvl="2" indent="-90000" fontAlgn="base">
                <a:spcBef>
                  <a:spcPts val="200"/>
                </a:spcBef>
                <a:buClr>
                  <a:srgbClr val="000000"/>
                </a:buClr>
                <a:buSzPct val="100000"/>
                <a:buFont typeface="Wingdings" pitchFamily="2" charset="2"/>
                <a:buChar char="§"/>
              </a:pPr>
              <a:r>
                <a:rPr lang="en-US" sz="800" dirty="0" smtClean="0">
                  <a:solidFill>
                    <a:srgbClr val="000000"/>
                  </a:solidFill>
                  <a:latin typeface="Arial" pitchFamily="34" charset="0"/>
                  <a:ea typeface="MS UI Gothic" pitchFamily="34" charset="-128"/>
                </a:rPr>
                <a:t>DVI </a:t>
              </a:r>
              <a:r>
                <a:rPr lang="en-US" sz="800" dirty="0">
                  <a:solidFill>
                    <a:srgbClr val="000000"/>
                  </a:solidFill>
                  <a:latin typeface="Arial" pitchFamily="34" charset="0"/>
                  <a:ea typeface="MS UI Gothic" pitchFamily="34" charset="-128"/>
                </a:rPr>
                <a:t>(HDCP), </a:t>
              </a:r>
              <a:r>
                <a:rPr lang="en-US" sz="800" dirty="0" smtClean="0">
                  <a:solidFill>
                    <a:srgbClr val="000000"/>
                  </a:solidFill>
                  <a:latin typeface="Arial" pitchFamily="34" charset="0"/>
                  <a:ea typeface="MS UI Gothic" pitchFamily="34" charset="-128"/>
                </a:rPr>
                <a:t>VGA, HDMI*</a:t>
              </a:r>
              <a:endParaRPr lang="en-US" sz="800" dirty="0">
                <a:solidFill>
                  <a:srgbClr val="000000"/>
                </a:solidFill>
                <a:latin typeface="Arial" pitchFamily="34" charset="0"/>
                <a:ea typeface="MS UI Gothic" pitchFamily="34" charset="-128"/>
              </a:endParaRPr>
            </a:p>
            <a:p>
              <a:pPr marL="90000" lvl="1" indent="-90000" fontAlgn="base">
                <a:spcBef>
                  <a:spcPts val="200"/>
                </a:spcBef>
                <a:buClr>
                  <a:srgbClr val="000000"/>
                </a:buClr>
                <a:buSzPct val="100000"/>
                <a:buFont typeface="Wingdings" pitchFamily="2" charset="2"/>
                <a:buChar char="§"/>
              </a:pPr>
              <a:r>
                <a:rPr lang="en-US" sz="800" u="sng" dirty="0" smtClean="0">
                  <a:latin typeface="Arial" pitchFamily="34" charset="0"/>
                  <a:ea typeface="MS UI Gothic" pitchFamily="34" charset="-128"/>
                </a:rPr>
                <a:t>Energy Management:</a:t>
              </a:r>
              <a:endParaRPr lang="en-US" sz="800" dirty="0" smtClean="0">
                <a:latin typeface="Arial" pitchFamily="34" charset="0"/>
                <a:ea typeface="MS UI Gothic" pitchFamily="34" charset="-128"/>
              </a:endParaRPr>
            </a:p>
            <a:p>
              <a:pPr marL="547200" lvl="2" indent="-90000" fontAlgn="base">
                <a:spcBef>
                  <a:spcPts val="200"/>
                </a:spcBef>
                <a:buClr>
                  <a:srgbClr val="000000"/>
                </a:buClr>
                <a:buSzPct val="100000"/>
                <a:buFont typeface="Wingdings" pitchFamily="2" charset="2"/>
                <a:buChar char="§"/>
              </a:pPr>
              <a:r>
                <a:rPr lang="en-US" sz="800" dirty="0" smtClean="0">
                  <a:latin typeface="Arial" pitchFamily="34" charset="0"/>
                  <a:ea typeface="MS UI Gothic" pitchFamily="34" charset="-128"/>
                </a:rPr>
                <a:t>ECO operation mode</a:t>
              </a:r>
            </a:p>
            <a:p>
              <a:pPr marL="90000" lvl="1" indent="-90000" fontAlgn="base">
                <a:spcBef>
                  <a:spcPts val="200"/>
                </a:spcBef>
                <a:buClr>
                  <a:srgbClr val="000000"/>
                </a:buClr>
                <a:buSzPct val="100000"/>
                <a:buFont typeface="Wingdings" pitchFamily="2" charset="2"/>
                <a:buChar char="§"/>
              </a:pPr>
              <a:r>
                <a:rPr lang="en-US" sz="800" u="sng" dirty="0" smtClean="0">
                  <a:latin typeface="Arial" pitchFamily="34" charset="0"/>
                  <a:ea typeface="MS UI Gothic" pitchFamily="34" charset="-128"/>
                </a:rPr>
                <a:t>Audio:</a:t>
              </a:r>
            </a:p>
            <a:p>
              <a:pPr marL="547200" lvl="2" indent="-90000" fontAlgn="base">
                <a:spcBef>
                  <a:spcPts val="200"/>
                </a:spcBef>
                <a:buClr>
                  <a:srgbClr val="000000"/>
                </a:buClr>
                <a:buSzPct val="100000"/>
                <a:buFont typeface="Wingdings" pitchFamily="2" charset="2"/>
                <a:buChar char="§"/>
              </a:pPr>
              <a:r>
                <a:rPr lang="en-US" sz="800" dirty="0" smtClean="0">
                  <a:latin typeface="Arial" pitchFamily="34" charset="0"/>
                  <a:ea typeface="MS UI Gothic" pitchFamily="34" charset="-128"/>
                </a:rPr>
                <a:t>Built-in speaker</a:t>
              </a:r>
              <a:endParaRPr lang="en-US" sz="800" dirty="0">
                <a:latin typeface="Arial" pitchFamily="34" charset="0"/>
                <a:ea typeface="MS UI Gothic" pitchFamily="34" charset="-128"/>
              </a:endParaRPr>
            </a:p>
            <a:p>
              <a:pPr marL="547200" lvl="2" indent="-90000" fontAlgn="base">
                <a:spcBef>
                  <a:spcPts val="200"/>
                </a:spcBef>
                <a:buClr>
                  <a:srgbClr val="000000"/>
                </a:buClr>
                <a:buSzPct val="100000"/>
                <a:buFont typeface="Wingdings" pitchFamily="2" charset="2"/>
                <a:buChar char="§"/>
              </a:pPr>
              <a:r>
                <a:rPr lang="en-US" sz="800" dirty="0">
                  <a:latin typeface="Arial" pitchFamily="34" charset="0"/>
                  <a:ea typeface="MS UI Gothic" pitchFamily="34" charset="-128"/>
                </a:rPr>
                <a:t>H</a:t>
              </a:r>
              <a:r>
                <a:rPr lang="en-US" sz="800" dirty="0" smtClean="0">
                  <a:latin typeface="Arial" pitchFamily="34" charset="0"/>
                  <a:ea typeface="MS UI Gothic" pitchFamily="34" charset="-128"/>
                </a:rPr>
                <a:t>eadphone connector</a:t>
              </a:r>
            </a:p>
            <a:p>
              <a:pPr marL="90000" lvl="1" indent="-90000" fontAlgn="base">
                <a:spcBef>
                  <a:spcPts val="200"/>
                </a:spcBef>
                <a:buClr>
                  <a:srgbClr val="000000"/>
                </a:buClr>
                <a:buSzPct val="100000"/>
                <a:buFont typeface="Wingdings" pitchFamily="2" charset="2"/>
                <a:buChar char="§"/>
              </a:pPr>
              <a:r>
                <a:rPr lang="en-US" sz="800" u="sng" dirty="0" smtClean="0">
                  <a:latin typeface="Arial" pitchFamily="34" charset="0"/>
                  <a:ea typeface="MS UI Gothic" pitchFamily="34" charset="-128"/>
                </a:rPr>
                <a:t>Touch Screen</a:t>
              </a:r>
              <a:r>
                <a:rPr lang="en-US" sz="800" dirty="0" smtClean="0">
                  <a:latin typeface="Arial" pitchFamily="34" charset="0"/>
                  <a:ea typeface="MS UI Gothic" pitchFamily="34" charset="-128"/>
                </a:rPr>
                <a:t>*</a:t>
              </a:r>
            </a:p>
            <a:p>
              <a:pPr marL="547200" lvl="2" indent="-90000" fontAlgn="base">
                <a:spcBef>
                  <a:spcPts val="200"/>
                </a:spcBef>
                <a:buClr>
                  <a:srgbClr val="000000"/>
                </a:buClr>
                <a:buSzPct val="100000"/>
                <a:buFont typeface="Wingdings" pitchFamily="2" charset="2"/>
                <a:buChar char="§"/>
              </a:pPr>
              <a:r>
                <a:rPr lang="en-US" sz="800" dirty="0" smtClean="0">
                  <a:latin typeface="Arial" pitchFamily="34" charset="0"/>
                  <a:ea typeface="MS UI Gothic" pitchFamily="34" charset="-128"/>
                </a:rPr>
                <a:t>10-finger PCT</a:t>
              </a:r>
            </a:p>
            <a:p>
              <a:pPr marL="547200" lvl="2" indent="-90000" fontAlgn="base">
                <a:spcBef>
                  <a:spcPts val="200"/>
                </a:spcBef>
                <a:buClr>
                  <a:srgbClr val="000000"/>
                </a:buClr>
                <a:buSzPct val="100000"/>
                <a:buFont typeface="Wingdings" pitchFamily="2" charset="2"/>
                <a:buChar char="§"/>
              </a:pPr>
              <a:r>
                <a:rPr lang="en-US" sz="800" dirty="0" smtClean="0">
                  <a:latin typeface="Arial" pitchFamily="34" charset="0"/>
                  <a:ea typeface="MS UI Gothic" pitchFamily="34" charset="-128"/>
                </a:rPr>
                <a:t>Anti-glare</a:t>
              </a:r>
              <a:endParaRPr lang="en-US" sz="800" dirty="0">
                <a:latin typeface="Arial" pitchFamily="34" charset="0"/>
                <a:ea typeface="MS UI Gothic" pitchFamily="34" charset="-128"/>
              </a:endParaRPr>
            </a:p>
            <a:p>
              <a:pPr algn="ctr" fontAlgn="base">
                <a:spcBef>
                  <a:spcPct val="0"/>
                </a:spcBef>
              </a:pPr>
              <a:endParaRPr kumimoji="1" lang="de-DE" sz="1200" dirty="0" smtClean="0">
                <a:solidFill>
                  <a:srgbClr val="000000"/>
                </a:solidFill>
                <a:ea typeface="ＭＳ Ｐゴシック"/>
              </a:endParaRPr>
            </a:p>
          </p:txBody>
        </p:sp>
        <p:cxnSp>
          <p:nvCxnSpPr>
            <p:cNvPr id="42" name="Gerade Verbindung 41"/>
            <p:cNvCxnSpPr/>
            <p:nvPr/>
          </p:nvCxnSpPr>
          <p:spPr>
            <a:xfrm>
              <a:off x="346172" y="2473955"/>
              <a:ext cx="1976340" cy="0"/>
            </a:xfrm>
            <a:prstGeom prst="line">
              <a:avLst/>
            </a:prstGeom>
            <a:ln w="31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/>
          </p:nvCxnSpPr>
          <p:spPr>
            <a:xfrm>
              <a:off x="346172" y="4867114"/>
              <a:ext cx="1976340" cy="0"/>
            </a:xfrm>
            <a:prstGeom prst="line">
              <a:avLst/>
            </a:prstGeom>
            <a:ln w="31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5" name="Gruppieren 44"/>
          <p:cNvGrpSpPr/>
          <p:nvPr/>
        </p:nvGrpSpPr>
        <p:grpSpPr>
          <a:xfrm>
            <a:off x="284438" y="865019"/>
            <a:ext cx="2156400" cy="471093"/>
            <a:chOff x="350836" y="1070607"/>
            <a:chExt cx="2232897" cy="471093"/>
          </a:xfrm>
        </p:grpSpPr>
        <p:sp>
          <p:nvSpPr>
            <p:cNvPr id="46" name="Rechteck 45"/>
            <p:cNvSpPr/>
            <p:nvPr/>
          </p:nvSpPr>
          <p:spPr bwMode="auto">
            <a:xfrm>
              <a:off x="350837" y="1322581"/>
              <a:ext cx="2232896" cy="219119"/>
            </a:xfrm>
            <a:prstGeom prst="rect">
              <a:avLst/>
            </a:prstGeom>
            <a:solidFill>
              <a:srgbClr val="C6C4BF"/>
            </a:solidFill>
            <a:ln w="12700" algn="ctr">
              <a:noFill/>
              <a:miter lim="800000"/>
              <a:headEnd/>
              <a:tailEnd/>
            </a:ln>
          </p:spPr>
          <p:txBody>
            <a:bodyPr wrap="none" lIns="0" tIns="0" rIns="0" bIns="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900" spc="40" dirty="0" smtClean="0">
                  <a:solidFill>
                    <a:srgbClr val="000000"/>
                  </a:solidFill>
                </a:rPr>
                <a:t>Energy Saving</a:t>
              </a:r>
              <a:endParaRPr lang="en-US" sz="900" spc="40" dirty="0">
                <a:solidFill>
                  <a:srgbClr val="000000"/>
                </a:solidFill>
              </a:endParaRPr>
            </a:p>
          </p:txBody>
        </p:sp>
        <p:cxnSp>
          <p:nvCxnSpPr>
            <p:cNvPr id="47" name="Gerade Verbindung 46"/>
            <p:cNvCxnSpPr/>
            <p:nvPr/>
          </p:nvCxnSpPr>
          <p:spPr>
            <a:xfrm>
              <a:off x="350836" y="1318458"/>
              <a:ext cx="2232897" cy="0"/>
            </a:xfrm>
            <a:prstGeom prst="line">
              <a:avLst/>
            </a:prstGeom>
            <a:ln w="31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/>
            <p:nvPr/>
          </p:nvCxnSpPr>
          <p:spPr>
            <a:xfrm>
              <a:off x="350836" y="1536717"/>
              <a:ext cx="2232897" cy="0"/>
            </a:xfrm>
            <a:prstGeom prst="line">
              <a:avLst/>
            </a:prstGeom>
            <a:ln w="31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" name="Textfeld 48"/>
            <p:cNvSpPr txBox="1"/>
            <p:nvPr/>
          </p:nvSpPr>
          <p:spPr>
            <a:xfrm>
              <a:off x="370483" y="1070607"/>
              <a:ext cx="221325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400" spc="80" dirty="0" smtClean="0">
                  <a:solidFill>
                    <a:srgbClr val="C00000"/>
                  </a:solidFill>
                </a:rPr>
                <a:t>ALL-ROUND</a:t>
              </a:r>
              <a:endParaRPr lang="de-DE" sz="1400" spc="80" dirty="0">
                <a:solidFill>
                  <a:srgbClr val="C00000"/>
                </a:solidFill>
              </a:endParaRPr>
            </a:p>
          </p:txBody>
        </p:sp>
      </p:grpSp>
      <p:grpSp>
        <p:nvGrpSpPr>
          <p:cNvPr id="50" name="Gruppieren 49"/>
          <p:cNvGrpSpPr/>
          <p:nvPr/>
        </p:nvGrpSpPr>
        <p:grpSpPr>
          <a:xfrm>
            <a:off x="2722770" y="862252"/>
            <a:ext cx="2192400" cy="472087"/>
            <a:chOff x="2475151" y="1059105"/>
            <a:chExt cx="4205649" cy="472087"/>
          </a:xfrm>
        </p:grpSpPr>
        <p:cxnSp>
          <p:nvCxnSpPr>
            <p:cNvPr id="52" name="Gerade Verbindung 51"/>
            <p:cNvCxnSpPr/>
            <p:nvPr/>
          </p:nvCxnSpPr>
          <p:spPr>
            <a:xfrm>
              <a:off x="2475151" y="1305424"/>
              <a:ext cx="4205649" cy="2991"/>
            </a:xfrm>
            <a:prstGeom prst="line">
              <a:avLst/>
            </a:prstGeom>
            <a:ln w="31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/>
          </p:nvCxnSpPr>
          <p:spPr>
            <a:xfrm flipV="1">
              <a:off x="2515393" y="1526650"/>
              <a:ext cx="4141802" cy="4542"/>
            </a:xfrm>
            <a:prstGeom prst="line">
              <a:avLst/>
            </a:prstGeom>
            <a:ln w="31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4" name="Textfeld 53"/>
            <p:cNvSpPr txBox="1"/>
            <p:nvPr/>
          </p:nvSpPr>
          <p:spPr>
            <a:xfrm>
              <a:off x="3143340" y="1059105"/>
              <a:ext cx="309198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400" spc="80" dirty="0" smtClean="0">
                  <a:solidFill>
                    <a:srgbClr val="C00000"/>
                  </a:solidFill>
                </a:rPr>
                <a:t>ADVANCED</a:t>
              </a:r>
              <a:endParaRPr lang="de-DE" sz="1400" spc="80" dirty="0">
                <a:solidFill>
                  <a:srgbClr val="C00000"/>
                </a:solidFill>
              </a:endParaRPr>
            </a:p>
          </p:txBody>
        </p:sp>
      </p:grpSp>
      <p:grpSp>
        <p:nvGrpSpPr>
          <p:cNvPr id="60" name="Gruppieren 59"/>
          <p:cNvGrpSpPr/>
          <p:nvPr/>
        </p:nvGrpSpPr>
        <p:grpSpPr>
          <a:xfrm>
            <a:off x="5241313" y="866562"/>
            <a:ext cx="2193497" cy="471050"/>
            <a:chOff x="6826628" y="1070607"/>
            <a:chExt cx="2387684" cy="471050"/>
          </a:xfrm>
        </p:grpSpPr>
        <p:sp>
          <p:nvSpPr>
            <p:cNvPr id="61" name="Rechteck 60"/>
            <p:cNvSpPr/>
            <p:nvPr/>
          </p:nvSpPr>
          <p:spPr bwMode="auto">
            <a:xfrm>
              <a:off x="6826628" y="1318457"/>
              <a:ext cx="2387684" cy="223200"/>
            </a:xfrm>
            <a:prstGeom prst="rect">
              <a:avLst/>
            </a:prstGeom>
            <a:solidFill>
              <a:srgbClr val="62150C"/>
            </a:solidFill>
            <a:ln w="12700" algn="ctr">
              <a:noFill/>
              <a:miter lim="800000"/>
              <a:headEnd/>
              <a:tailEnd/>
            </a:ln>
          </p:spPr>
          <p:txBody>
            <a:bodyPr wrap="none" lIns="0" tIns="0" rIns="0" bIns="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900" spc="40" dirty="0" smtClean="0">
                  <a:solidFill>
                    <a:schemeClr val="bg1"/>
                  </a:solidFill>
                </a:rPr>
                <a:t>Performance</a:t>
              </a:r>
              <a:endParaRPr lang="en-US" sz="900" spc="40" dirty="0">
                <a:solidFill>
                  <a:schemeClr val="bg1"/>
                </a:solidFill>
              </a:endParaRPr>
            </a:p>
          </p:txBody>
        </p:sp>
        <p:sp>
          <p:nvSpPr>
            <p:cNvPr id="64" name="Textfeld 63"/>
            <p:cNvSpPr txBox="1"/>
            <p:nvPr/>
          </p:nvSpPr>
          <p:spPr>
            <a:xfrm>
              <a:off x="6865678" y="1070607"/>
              <a:ext cx="234863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400" spc="80" dirty="0" smtClean="0">
                  <a:solidFill>
                    <a:srgbClr val="C00000"/>
                  </a:solidFill>
                </a:rPr>
                <a:t>SUPERIOR</a:t>
              </a:r>
              <a:endParaRPr lang="de-DE" sz="1400" spc="80" dirty="0">
                <a:solidFill>
                  <a:srgbClr val="C00000"/>
                </a:solidFill>
              </a:endParaRPr>
            </a:p>
          </p:txBody>
        </p:sp>
      </p:grpSp>
      <p:grpSp>
        <p:nvGrpSpPr>
          <p:cNvPr id="2" name="Gruppieren 1"/>
          <p:cNvGrpSpPr/>
          <p:nvPr/>
        </p:nvGrpSpPr>
        <p:grpSpPr>
          <a:xfrm>
            <a:off x="5228563" y="2018686"/>
            <a:ext cx="2167196" cy="2891826"/>
            <a:chOff x="7062772" y="2084107"/>
            <a:chExt cx="1797138" cy="2604836"/>
          </a:xfrm>
        </p:grpSpPr>
        <p:sp>
          <p:nvSpPr>
            <p:cNvPr id="82" name="Rechteck 81"/>
            <p:cNvSpPr/>
            <p:nvPr/>
          </p:nvSpPr>
          <p:spPr bwMode="auto">
            <a:xfrm>
              <a:off x="7066873" y="2095837"/>
              <a:ext cx="1789200" cy="162136"/>
            </a:xfrm>
            <a:prstGeom prst="rect">
              <a:avLst/>
            </a:prstGeom>
            <a:solidFill>
              <a:srgbClr val="62150C"/>
            </a:solidFill>
            <a:ln w="12700" algn="ctr">
              <a:noFill/>
              <a:miter lim="800000"/>
              <a:headEnd/>
              <a:tailEnd/>
            </a:ln>
          </p:spPr>
          <p:txBody>
            <a:bodyPr wrap="none" lIns="0" tIns="0" rIns="0" bIns="0" rtlCol="0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900" dirty="0" smtClean="0">
                  <a:solidFill>
                    <a:schemeClr val="bg1"/>
                  </a:solidFill>
                </a:rPr>
                <a:t> P Line</a:t>
              </a:r>
              <a:endParaRPr lang="en-US" sz="900" dirty="0">
                <a:solidFill>
                  <a:schemeClr val="bg1"/>
                </a:solidFill>
              </a:endParaRPr>
            </a:p>
          </p:txBody>
        </p:sp>
        <p:cxnSp>
          <p:nvCxnSpPr>
            <p:cNvPr id="83" name="Gerade Verbindung 82"/>
            <p:cNvCxnSpPr/>
            <p:nvPr/>
          </p:nvCxnSpPr>
          <p:spPr>
            <a:xfrm flipV="1">
              <a:off x="7063925" y="2084107"/>
              <a:ext cx="1789200" cy="1"/>
            </a:xfrm>
            <a:prstGeom prst="line">
              <a:avLst/>
            </a:prstGeom>
            <a:ln w="31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83"/>
            <p:cNvCxnSpPr/>
            <p:nvPr/>
          </p:nvCxnSpPr>
          <p:spPr>
            <a:xfrm flipV="1">
              <a:off x="7067822" y="2268333"/>
              <a:ext cx="1789200" cy="1"/>
            </a:xfrm>
            <a:prstGeom prst="line">
              <a:avLst/>
            </a:prstGeom>
            <a:ln w="31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5" name="Rechteck 84"/>
            <p:cNvSpPr/>
            <p:nvPr/>
          </p:nvSpPr>
          <p:spPr bwMode="auto">
            <a:xfrm>
              <a:off x="7070599" y="2348234"/>
              <a:ext cx="1789200" cy="2340709"/>
            </a:xfrm>
            <a:prstGeom prst="rect">
              <a:avLst/>
            </a:prstGeom>
            <a:solidFill>
              <a:srgbClr val="D9D9D9">
                <a:alpha val="65098"/>
              </a:srgbClr>
            </a:solidFill>
            <a:ln w="12700" algn="ctr">
              <a:noFill/>
              <a:miter lim="800000"/>
              <a:headEnd/>
              <a:tailEnd/>
            </a:ln>
          </p:spPr>
          <p:txBody>
            <a:bodyPr wrap="none" lIns="0" tIns="0" rIns="0" bIns="0" rtlCol="0" anchor="t"/>
            <a:lstStyle/>
            <a:p>
              <a:pPr marL="90000" lvl="1" indent="-90000" fontAlgn="base">
                <a:spcBef>
                  <a:spcPts val="200"/>
                </a:spcBef>
                <a:buClr>
                  <a:srgbClr val="000000"/>
                </a:buClr>
                <a:buSzPct val="100000"/>
                <a:buFont typeface="Wingdings" pitchFamily="2" charset="2"/>
                <a:buChar char="§"/>
              </a:pPr>
              <a:r>
                <a:rPr lang="en-US" sz="800" u="sng" dirty="0" smtClean="0">
                  <a:latin typeface="Arial" pitchFamily="34" charset="0"/>
                  <a:ea typeface="MS UI Gothic" pitchFamily="34" charset="-128"/>
                </a:rPr>
                <a:t>Housing</a:t>
              </a:r>
              <a:r>
                <a:rPr lang="en-US" sz="800" u="sng" dirty="0" smtClean="0">
                  <a:solidFill>
                    <a:srgbClr val="000000"/>
                  </a:solidFill>
                  <a:latin typeface="Arial" pitchFamily="34" charset="0"/>
                  <a:ea typeface="MS UI Gothic" pitchFamily="34" charset="-128"/>
                </a:rPr>
                <a:t>:</a:t>
              </a:r>
              <a:r>
                <a:rPr lang="en-US" sz="800" dirty="0" smtClean="0">
                  <a:solidFill>
                    <a:srgbClr val="000000"/>
                  </a:solidFill>
                  <a:latin typeface="Arial" pitchFamily="34" charset="0"/>
                  <a:ea typeface="MS UI Gothic" pitchFamily="34" charset="-128"/>
                </a:rPr>
                <a:t>  Ergonomic grey</a:t>
              </a:r>
            </a:p>
            <a:p>
              <a:pPr marL="90000" lvl="1" indent="-90000" fontAlgn="base">
                <a:spcBef>
                  <a:spcPts val="200"/>
                </a:spcBef>
                <a:buClr>
                  <a:srgbClr val="000000"/>
                </a:buClr>
                <a:buSzPct val="100000"/>
                <a:buFont typeface="Wingdings" pitchFamily="2" charset="2"/>
                <a:buChar char="§"/>
              </a:pPr>
              <a:r>
                <a:rPr lang="en-US" sz="800" u="sng" dirty="0" smtClean="0">
                  <a:solidFill>
                    <a:srgbClr val="000000"/>
                  </a:solidFill>
                  <a:latin typeface="Arial" pitchFamily="34" charset="0"/>
                  <a:ea typeface="MS UI Gothic" pitchFamily="34" charset="-128"/>
                </a:rPr>
                <a:t>Stand base:</a:t>
              </a:r>
              <a:r>
                <a:rPr lang="en-US" sz="800" dirty="0" smtClean="0">
                  <a:solidFill>
                    <a:srgbClr val="000000"/>
                  </a:solidFill>
                  <a:latin typeface="Arial" pitchFamily="34" charset="0"/>
                  <a:ea typeface="MS UI Gothic" pitchFamily="34" charset="-128"/>
                </a:rPr>
                <a:t>  Same as B Line</a:t>
              </a:r>
            </a:p>
            <a:p>
              <a:pPr marL="90000" lvl="1" indent="-90000" fontAlgn="base">
                <a:spcBef>
                  <a:spcPts val="200"/>
                </a:spcBef>
                <a:buClr>
                  <a:srgbClr val="000000"/>
                </a:buClr>
                <a:buSzPct val="100000"/>
                <a:buFont typeface="Wingdings" pitchFamily="2" charset="2"/>
                <a:buChar char="§"/>
              </a:pPr>
              <a:r>
                <a:rPr lang="en-US" sz="800" u="sng" dirty="0" smtClean="0">
                  <a:solidFill>
                    <a:srgbClr val="000000"/>
                  </a:solidFill>
                  <a:latin typeface="Arial" pitchFamily="34" charset="0"/>
                  <a:ea typeface="MS UI Gothic" pitchFamily="34" charset="-128"/>
                </a:rPr>
                <a:t>Panel:</a:t>
              </a:r>
              <a:r>
                <a:rPr lang="en-US" sz="800" dirty="0" smtClean="0">
                  <a:solidFill>
                    <a:srgbClr val="000000"/>
                  </a:solidFill>
                  <a:latin typeface="Arial" pitchFamily="34" charset="0"/>
                  <a:ea typeface="MS UI Gothic" pitchFamily="34" charset="-128"/>
                </a:rPr>
                <a:t>  Wide viewing angle performance</a:t>
              </a:r>
            </a:p>
            <a:p>
              <a:pPr marL="547200" lvl="2" indent="-90000" fontAlgn="base">
                <a:spcBef>
                  <a:spcPts val="200"/>
                </a:spcBef>
                <a:buClr>
                  <a:srgbClr val="000000"/>
                </a:buClr>
                <a:buSzPct val="100000"/>
                <a:buFont typeface="Wingdings" pitchFamily="2" charset="2"/>
                <a:buChar char="§"/>
              </a:pPr>
              <a:r>
                <a:rPr lang="en-US" sz="800" dirty="0" smtClean="0">
                  <a:solidFill>
                    <a:srgbClr val="000000"/>
                  </a:solidFill>
                  <a:latin typeface="Arial" pitchFamily="34" charset="0"/>
                  <a:ea typeface="MS UI Gothic" pitchFamily="34" charset="-128"/>
                </a:rPr>
                <a:t>High resolution up to UHD </a:t>
              </a:r>
              <a:endParaRPr lang="en-US" sz="800" dirty="0">
                <a:solidFill>
                  <a:srgbClr val="000000"/>
                </a:solidFill>
                <a:latin typeface="Arial" pitchFamily="34" charset="0"/>
                <a:ea typeface="MS UI Gothic" pitchFamily="34" charset="-128"/>
              </a:endParaRPr>
            </a:p>
            <a:p>
              <a:pPr marL="547200" lvl="2" indent="-90000" fontAlgn="base">
                <a:spcBef>
                  <a:spcPts val="200"/>
                </a:spcBef>
                <a:buClr>
                  <a:srgbClr val="000000"/>
                </a:buClr>
                <a:buSzPct val="100000"/>
                <a:buFont typeface="Wingdings" pitchFamily="2" charset="2"/>
                <a:buChar char="§"/>
              </a:pPr>
              <a:r>
                <a:rPr lang="en-US" sz="800" dirty="0">
                  <a:latin typeface="Arial" pitchFamily="34" charset="0"/>
                  <a:ea typeface="MS UI Gothic" pitchFamily="34" charset="-128"/>
                </a:rPr>
                <a:t>DICOM compatible </a:t>
              </a:r>
              <a:r>
                <a:rPr lang="en-US" sz="800" dirty="0" smtClean="0">
                  <a:latin typeface="Arial" pitchFamily="34" charset="0"/>
                  <a:ea typeface="MS UI Gothic" pitchFamily="34" charset="-128"/>
                </a:rPr>
                <a:t>mode</a:t>
              </a:r>
            </a:p>
            <a:p>
              <a:pPr marL="90000" lvl="1" indent="-90000" fontAlgn="base">
                <a:spcBef>
                  <a:spcPts val="200"/>
                </a:spcBef>
                <a:buClr>
                  <a:srgbClr val="000000"/>
                </a:buClr>
                <a:buSzPct val="100000"/>
                <a:buFont typeface="Wingdings" pitchFamily="2" charset="2"/>
                <a:buChar char="§"/>
              </a:pPr>
              <a:r>
                <a:rPr lang="en-US" sz="800" u="sng" dirty="0" smtClean="0">
                  <a:latin typeface="Arial" pitchFamily="34" charset="0"/>
                  <a:ea typeface="MS UI Gothic" pitchFamily="34" charset="-128"/>
                </a:rPr>
                <a:t>Sensors:</a:t>
              </a:r>
              <a:endParaRPr lang="en-US" sz="800" u="sng" dirty="0">
                <a:latin typeface="Arial" pitchFamily="34" charset="0"/>
                <a:ea typeface="MS UI Gothic" pitchFamily="34" charset="-128"/>
              </a:endParaRPr>
            </a:p>
            <a:p>
              <a:pPr marL="547200" lvl="2" indent="-90000" fontAlgn="base">
                <a:spcBef>
                  <a:spcPts val="200"/>
                </a:spcBef>
                <a:buClr>
                  <a:srgbClr val="000000"/>
                </a:buClr>
                <a:buSzPct val="100000"/>
                <a:buFont typeface="Wingdings" pitchFamily="2" charset="2"/>
                <a:buChar char="§"/>
              </a:pPr>
              <a:r>
                <a:rPr lang="en-US" sz="800" dirty="0" smtClean="0">
                  <a:solidFill>
                    <a:srgbClr val="000000"/>
                  </a:solidFill>
                  <a:latin typeface="Arial" pitchFamily="34" charset="0"/>
                  <a:ea typeface="MS UI Gothic" pitchFamily="34" charset="-128"/>
                </a:rPr>
                <a:t>Presence Sensor*</a:t>
              </a:r>
            </a:p>
            <a:p>
              <a:pPr marL="547200" lvl="2" indent="-90000" fontAlgn="base">
                <a:spcBef>
                  <a:spcPts val="200"/>
                </a:spcBef>
                <a:buClr>
                  <a:srgbClr val="000000"/>
                </a:buClr>
                <a:buSzPct val="100000"/>
                <a:buFont typeface="Wingdings" pitchFamily="2" charset="2"/>
                <a:buChar char="§"/>
              </a:pPr>
              <a:r>
                <a:rPr lang="en-US" sz="800" dirty="0" smtClean="0">
                  <a:solidFill>
                    <a:srgbClr val="000000"/>
                  </a:solidFill>
                  <a:latin typeface="Arial" pitchFamily="34" charset="0"/>
                  <a:ea typeface="MS UI Gothic" pitchFamily="34" charset="-128"/>
                </a:rPr>
                <a:t>Auto Pivot</a:t>
              </a:r>
            </a:p>
            <a:p>
              <a:pPr marL="547200" lvl="2" indent="-90000" fontAlgn="base">
                <a:spcBef>
                  <a:spcPts val="200"/>
                </a:spcBef>
                <a:buClr>
                  <a:srgbClr val="000000"/>
                </a:buClr>
                <a:buSzPct val="100000"/>
                <a:buFont typeface="Wingdings" pitchFamily="2" charset="2"/>
                <a:buChar char="§"/>
              </a:pPr>
              <a:r>
                <a:rPr lang="en-US" sz="800" dirty="0" smtClean="0">
                  <a:solidFill>
                    <a:srgbClr val="000000"/>
                  </a:solidFill>
                  <a:latin typeface="Arial" pitchFamily="34" charset="0"/>
                  <a:ea typeface="MS UI Gothic" pitchFamily="34" charset="-128"/>
                </a:rPr>
                <a:t>Auto Brightness*</a:t>
              </a:r>
            </a:p>
            <a:p>
              <a:pPr marL="90000" lvl="1" indent="-90000" fontAlgn="base">
                <a:spcBef>
                  <a:spcPts val="200"/>
                </a:spcBef>
                <a:buClr>
                  <a:srgbClr val="000000"/>
                </a:buClr>
                <a:buSzPct val="100000"/>
                <a:buFont typeface="Wingdings" pitchFamily="2" charset="2"/>
                <a:buChar char="§"/>
              </a:pPr>
              <a:r>
                <a:rPr lang="en-US" sz="800" u="sng" dirty="0" smtClean="0">
                  <a:solidFill>
                    <a:srgbClr val="000000"/>
                  </a:solidFill>
                  <a:latin typeface="Arial" pitchFamily="34" charset="0"/>
                  <a:ea typeface="MS UI Gothic" pitchFamily="34" charset="-128"/>
                </a:rPr>
                <a:t>UC&amp;C:</a:t>
              </a:r>
              <a:r>
                <a:rPr lang="en-US" sz="800" dirty="0" smtClean="0">
                  <a:solidFill>
                    <a:srgbClr val="000000"/>
                  </a:solidFill>
                  <a:latin typeface="Arial" pitchFamily="34" charset="0"/>
                  <a:ea typeface="MS UI Gothic" pitchFamily="34" charset="-128"/>
                </a:rPr>
                <a:t>  Call and Status Indicator*</a:t>
              </a:r>
            </a:p>
            <a:p>
              <a:pPr marL="90000" lvl="1" indent="-90000" fontAlgn="base">
                <a:spcBef>
                  <a:spcPts val="200"/>
                </a:spcBef>
                <a:buClr>
                  <a:srgbClr val="000000"/>
                </a:buClr>
                <a:buSzPct val="100000"/>
                <a:buFont typeface="Wingdings" pitchFamily="2" charset="2"/>
                <a:buChar char="§"/>
              </a:pPr>
              <a:r>
                <a:rPr lang="en-US" sz="800" u="sng" dirty="0" smtClean="0">
                  <a:solidFill>
                    <a:srgbClr val="000000"/>
                  </a:solidFill>
                  <a:latin typeface="Arial" pitchFamily="34" charset="0"/>
                  <a:ea typeface="MS UI Gothic" pitchFamily="34" charset="-128"/>
                </a:rPr>
                <a:t>Interfaces:</a:t>
              </a:r>
            </a:p>
            <a:p>
              <a:pPr marL="547200" lvl="2" indent="-90000" fontAlgn="base">
                <a:spcBef>
                  <a:spcPts val="200"/>
                </a:spcBef>
                <a:buClr>
                  <a:srgbClr val="000000"/>
                </a:buClr>
                <a:buSzPct val="100000"/>
                <a:buFont typeface="Wingdings" pitchFamily="2" charset="2"/>
                <a:buChar char="§"/>
              </a:pPr>
              <a:r>
                <a:rPr lang="en-US" sz="800" dirty="0" smtClean="0">
                  <a:solidFill>
                    <a:srgbClr val="000000"/>
                  </a:solidFill>
                  <a:latin typeface="Arial" pitchFamily="34" charset="0"/>
                  <a:ea typeface="MS UI Gothic" pitchFamily="34" charset="-128"/>
                </a:rPr>
                <a:t>DisplayPort, </a:t>
              </a:r>
              <a:r>
                <a:rPr lang="en-US" sz="800" dirty="0" smtClean="0">
                  <a:latin typeface="Arial" pitchFamily="34" charset="0"/>
                  <a:ea typeface="MS UI Gothic" pitchFamily="34" charset="-128"/>
                </a:rPr>
                <a:t>HDMI, DVI-D*, VGA</a:t>
              </a:r>
              <a:r>
                <a:rPr lang="en-US" sz="800" dirty="0">
                  <a:latin typeface="Arial" pitchFamily="34" charset="0"/>
                  <a:ea typeface="MS UI Gothic" pitchFamily="34" charset="-128"/>
                </a:rPr>
                <a:t>*</a:t>
              </a:r>
              <a:r>
                <a:rPr lang="en-US" sz="800" dirty="0" smtClean="0">
                  <a:latin typeface="Arial" pitchFamily="34" charset="0"/>
                  <a:ea typeface="MS UI Gothic" pitchFamily="34" charset="-128"/>
                </a:rPr>
                <a:t> </a:t>
              </a:r>
            </a:p>
            <a:p>
              <a:pPr marL="547200" lvl="2" indent="-90000" fontAlgn="base">
                <a:spcBef>
                  <a:spcPts val="200"/>
                </a:spcBef>
                <a:buClr>
                  <a:srgbClr val="000000"/>
                </a:buClr>
                <a:buSzPct val="100000"/>
                <a:buFont typeface="Wingdings" pitchFamily="2" charset="2"/>
                <a:buChar char="§"/>
              </a:pPr>
              <a:r>
                <a:rPr lang="en-US" sz="800" dirty="0" smtClean="0">
                  <a:latin typeface="Arial" pitchFamily="34" charset="0"/>
                  <a:ea typeface="MS UI Gothic" pitchFamily="34" charset="-128"/>
                </a:rPr>
                <a:t>USB 3.0 hub</a:t>
              </a:r>
              <a:endParaRPr lang="en-US" sz="800" dirty="0">
                <a:latin typeface="Arial" pitchFamily="34" charset="0"/>
                <a:ea typeface="MS UI Gothic" pitchFamily="34" charset="-128"/>
              </a:endParaRPr>
            </a:p>
            <a:p>
              <a:pPr marL="90000" lvl="1" indent="-90000" fontAlgn="base">
                <a:spcBef>
                  <a:spcPts val="200"/>
                </a:spcBef>
                <a:buClr>
                  <a:srgbClr val="000000"/>
                </a:buClr>
                <a:buSzPct val="100000"/>
                <a:buFont typeface="Wingdings" pitchFamily="2" charset="2"/>
                <a:buChar char="§"/>
              </a:pPr>
              <a:r>
                <a:rPr lang="en-US" sz="800" u="sng" dirty="0">
                  <a:solidFill>
                    <a:srgbClr val="000000"/>
                  </a:solidFill>
                  <a:latin typeface="Arial" pitchFamily="34" charset="0"/>
                  <a:ea typeface="MS UI Gothic" pitchFamily="34" charset="-128"/>
                </a:rPr>
                <a:t>Energy management:</a:t>
              </a:r>
              <a:r>
                <a:rPr lang="en-US" sz="800" dirty="0">
                  <a:solidFill>
                    <a:srgbClr val="000000"/>
                  </a:solidFill>
                  <a:latin typeface="Arial" pitchFamily="34" charset="0"/>
                  <a:ea typeface="MS UI Gothic" pitchFamily="34" charset="-128"/>
                </a:rPr>
                <a:t> </a:t>
              </a:r>
              <a:r>
                <a:rPr lang="en-US" sz="800" dirty="0" smtClean="0">
                  <a:solidFill>
                    <a:srgbClr val="000000"/>
                  </a:solidFill>
                  <a:latin typeface="Arial" pitchFamily="34" charset="0"/>
                  <a:ea typeface="MS UI Gothic" pitchFamily="34" charset="-128"/>
                </a:rPr>
                <a:t>Same as B Line</a:t>
              </a:r>
              <a:endParaRPr lang="en-US" sz="800" dirty="0">
                <a:solidFill>
                  <a:srgbClr val="000000"/>
                </a:solidFill>
                <a:latin typeface="Arial" pitchFamily="34" charset="0"/>
                <a:ea typeface="MS UI Gothic" pitchFamily="34" charset="-128"/>
              </a:endParaRPr>
            </a:p>
            <a:p>
              <a:pPr marL="547200" lvl="2" indent="-90000" fontAlgn="base">
                <a:spcBef>
                  <a:spcPts val="200"/>
                </a:spcBef>
                <a:buClr>
                  <a:srgbClr val="000000"/>
                </a:buClr>
                <a:buSzPct val="100000"/>
                <a:buFont typeface="Wingdings" pitchFamily="2" charset="2"/>
                <a:buChar char="§"/>
              </a:pPr>
              <a:r>
                <a:rPr lang="en-US" sz="800" dirty="0" smtClean="0">
                  <a:solidFill>
                    <a:srgbClr val="000000"/>
                  </a:solidFill>
                  <a:latin typeface="Arial" pitchFamily="34" charset="0"/>
                  <a:ea typeface="MS UI Gothic" pitchFamily="34" charset="-128"/>
                </a:rPr>
                <a:t>0 </a:t>
              </a:r>
              <a:r>
                <a:rPr lang="en-US" sz="800" dirty="0">
                  <a:solidFill>
                    <a:srgbClr val="000000"/>
                  </a:solidFill>
                  <a:latin typeface="Arial" pitchFamily="34" charset="0"/>
                  <a:ea typeface="MS UI Gothic" pitchFamily="34" charset="-128"/>
                </a:rPr>
                <a:t>–Watt in power save mode</a:t>
              </a:r>
              <a:r>
                <a:rPr lang="en-US" sz="800" dirty="0" smtClean="0">
                  <a:solidFill>
                    <a:srgbClr val="000000"/>
                  </a:solidFill>
                  <a:latin typeface="Arial" pitchFamily="34" charset="0"/>
                  <a:ea typeface="MS UI Gothic" pitchFamily="34" charset="-128"/>
                </a:rPr>
                <a:t>*</a:t>
              </a:r>
              <a:endParaRPr lang="en-US" sz="800" dirty="0">
                <a:latin typeface="Arial" pitchFamily="34" charset="0"/>
                <a:ea typeface="MS UI Gothic" pitchFamily="34" charset="-128"/>
              </a:endParaRPr>
            </a:p>
            <a:p>
              <a:pPr marL="90000" lvl="1" indent="-90000" fontAlgn="base">
                <a:spcBef>
                  <a:spcPts val="200"/>
                </a:spcBef>
                <a:buClr>
                  <a:srgbClr val="000000"/>
                </a:buClr>
                <a:buSzPct val="100000"/>
                <a:buFont typeface="Wingdings" pitchFamily="2" charset="2"/>
                <a:buChar char="§"/>
              </a:pPr>
              <a:r>
                <a:rPr lang="en-US" sz="800" u="sng" dirty="0" smtClean="0">
                  <a:latin typeface="Arial" pitchFamily="34" charset="0"/>
                  <a:ea typeface="MS UI Gothic" pitchFamily="34" charset="-128"/>
                </a:rPr>
                <a:t>Manageability</a:t>
              </a:r>
              <a:r>
                <a:rPr lang="en-US" sz="800" u="sng" dirty="0">
                  <a:solidFill>
                    <a:srgbClr val="000000"/>
                  </a:solidFill>
                  <a:latin typeface="Arial" pitchFamily="34" charset="0"/>
                  <a:ea typeface="MS UI Gothic" pitchFamily="34" charset="-128"/>
                </a:rPr>
                <a:t>:</a:t>
              </a:r>
              <a:r>
                <a:rPr lang="en-US" sz="800" dirty="0">
                  <a:solidFill>
                    <a:srgbClr val="000000"/>
                  </a:solidFill>
                  <a:latin typeface="Arial" pitchFamily="34" charset="0"/>
                  <a:ea typeface="MS UI Gothic" pitchFamily="34" charset="-128"/>
                </a:rPr>
                <a:t> ‘</a:t>
              </a:r>
              <a:r>
                <a:rPr lang="en-US" sz="800" dirty="0" smtClean="0">
                  <a:solidFill>
                    <a:srgbClr val="000000"/>
                  </a:solidFill>
                  <a:latin typeface="Arial" pitchFamily="34" charset="0"/>
                  <a:ea typeface="MS UI Gothic" pitchFamily="34" charset="-128"/>
                </a:rPr>
                <a:t>DisplayView’</a:t>
              </a:r>
              <a:endParaRPr lang="en-US" sz="800" dirty="0">
                <a:latin typeface="Arial" pitchFamily="34" charset="0"/>
                <a:ea typeface="MS UI Gothic" pitchFamily="34" charset="-128"/>
              </a:endParaRPr>
            </a:p>
            <a:p>
              <a:pPr marL="90000" lvl="1" indent="-90000" fontAlgn="base">
                <a:spcBef>
                  <a:spcPts val="200"/>
                </a:spcBef>
                <a:buClr>
                  <a:srgbClr val="000000"/>
                </a:buClr>
                <a:buSzPct val="100000"/>
                <a:buFont typeface="Wingdings" pitchFamily="2" charset="2"/>
                <a:buChar char="§"/>
              </a:pPr>
              <a:r>
                <a:rPr lang="en-US" sz="800" dirty="0" smtClean="0">
                  <a:latin typeface="Arial" pitchFamily="34" charset="0"/>
                  <a:ea typeface="MS UI Gothic" pitchFamily="34" charset="-128"/>
                </a:rPr>
                <a:t>24/7 approved</a:t>
              </a:r>
              <a:endParaRPr lang="en-US" sz="800" dirty="0">
                <a:latin typeface="Arial" pitchFamily="34" charset="0"/>
                <a:ea typeface="MS UI Gothic" pitchFamily="34" charset="-128"/>
              </a:endParaRPr>
            </a:p>
          </p:txBody>
        </p:sp>
        <p:cxnSp>
          <p:nvCxnSpPr>
            <p:cNvPr id="86" name="Gerade Verbindung 85"/>
            <p:cNvCxnSpPr/>
            <p:nvPr/>
          </p:nvCxnSpPr>
          <p:spPr>
            <a:xfrm>
              <a:off x="7062772" y="2340398"/>
              <a:ext cx="1789200" cy="0"/>
            </a:xfrm>
            <a:prstGeom prst="line">
              <a:avLst/>
            </a:prstGeom>
            <a:ln w="31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Gerade Verbindung 86"/>
            <p:cNvCxnSpPr/>
            <p:nvPr/>
          </p:nvCxnSpPr>
          <p:spPr>
            <a:xfrm>
              <a:off x="7070710" y="4688941"/>
              <a:ext cx="1789200" cy="0"/>
            </a:xfrm>
            <a:prstGeom prst="line">
              <a:avLst/>
            </a:prstGeom>
            <a:ln w="31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5" name="Text Box 15"/>
          <p:cNvSpPr txBox="1">
            <a:spLocks noChangeArrowheads="1"/>
          </p:cNvSpPr>
          <p:nvPr/>
        </p:nvSpPr>
        <p:spPr bwMode="auto">
          <a:xfrm>
            <a:off x="7613842" y="4793769"/>
            <a:ext cx="1320082" cy="9474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marL="190500" indent="-190500" algn="ctr" fontAlgn="ctr">
              <a:spcBef>
                <a:spcPct val="0"/>
              </a:spcBef>
              <a:spcAft>
                <a:spcPct val="0"/>
              </a:spcAft>
            </a:pPr>
            <a:r>
              <a:rPr kumimoji="1" lang="en-US" sz="800" b="0" dirty="0" smtClean="0">
                <a:solidFill>
                  <a:srgbClr val="000000"/>
                </a:solidFill>
              </a:rPr>
              <a:t>* Featured on selected models</a:t>
            </a:r>
            <a:endParaRPr kumimoji="1" lang="en-US" sz="800" b="0" dirty="0">
              <a:solidFill>
                <a:srgbClr val="000000"/>
              </a:solidFill>
            </a:endParaRPr>
          </a:p>
        </p:txBody>
      </p:sp>
      <p:grpSp>
        <p:nvGrpSpPr>
          <p:cNvPr id="56" name="Gruppieren 55"/>
          <p:cNvGrpSpPr/>
          <p:nvPr/>
        </p:nvGrpSpPr>
        <p:grpSpPr>
          <a:xfrm>
            <a:off x="2758404" y="2023500"/>
            <a:ext cx="2156400" cy="2892032"/>
            <a:chOff x="2502463" y="2206848"/>
            <a:chExt cx="1984367" cy="2644488"/>
          </a:xfrm>
        </p:grpSpPr>
        <p:sp>
          <p:nvSpPr>
            <p:cNvPr id="58" name="Rechteck 57"/>
            <p:cNvSpPr/>
            <p:nvPr/>
          </p:nvSpPr>
          <p:spPr bwMode="auto">
            <a:xfrm>
              <a:off x="2508249" y="2218818"/>
              <a:ext cx="1978581" cy="164593"/>
            </a:xfrm>
            <a:prstGeom prst="rect">
              <a:avLst/>
            </a:prstGeom>
            <a:solidFill>
              <a:srgbClr val="87867E"/>
            </a:solidFill>
            <a:ln w="12700" algn="ctr">
              <a:noFill/>
              <a:miter lim="800000"/>
              <a:headEnd/>
              <a:tailEnd/>
            </a:ln>
          </p:spPr>
          <p:txBody>
            <a:bodyPr wrap="none" lIns="0" tIns="0" rIns="0" bIns="0" rtlCol="0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900" dirty="0" smtClean="0">
                  <a:solidFill>
                    <a:schemeClr val="bg1"/>
                  </a:solidFill>
                </a:rPr>
                <a:t> B Line</a:t>
              </a:r>
              <a:endParaRPr lang="en-US" sz="900" dirty="0">
                <a:solidFill>
                  <a:schemeClr val="bg1"/>
                </a:solidFill>
              </a:endParaRPr>
            </a:p>
          </p:txBody>
        </p:sp>
        <p:cxnSp>
          <p:nvCxnSpPr>
            <p:cNvPr id="59" name="Gerade Verbindung 58"/>
            <p:cNvCxnSpPr/>
            <p:nvPr/>
          </p:nvCxnSpPr>
          <p:spPr>
            <a:xfrm flipV="1">
              <a:off x="2508249" y="2206848"/>
              <a:ext cx="1972795" cy="1"/>
            </a:xfrm>
            <a:prstGeom prst="line">
              <a:avLst/>
            </a:prstGeom>
            <a:ln w="31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/>
          </p:nvCxnSpPr>
          <p:spPr>
            <a:xfrm flipV="1">
              <a:off x="2506266" y="2389060"/>
              <a:ext cx="1972795" cy="1"/>
            </a:xfrm>
            <a:prstGeom prst="line">
              <a:avLst/>
            </a:prstGeom>
            <a:ln w="31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0" name="Rechteck 79"/>
            <p:cNvSpPr/>
            <p:nvPr/>
          </p:nvSpPr>
          <p:spPr bwMode="auto">
            <a:xfrm>
              <a:off x="2505022" y="2456493"/>
              <a:ext cx="1973782" cy="2394843"/>
            </a:xfrm>
            <a:prstGeom prst="rect">
              <a:avLst/>
            </a:prstGeom>
            <a:solidFill>
              <a:srgbClr val="D9D9D9">
                <a:alpha val="65098"/>
              </a:srgbClr>
            </a:solidFill>
            <a:ln w="12700" algn="ctr">
              <a:noFill/>
              <a:miter lim="800000"/>
              <a:headEnd/>
              <a:tailEnd/>
            </a:ln>
          </p:spPr>
          <p:txBody>
            <a:bodyPr wrap="none" lIns="0" tIns="0" rIns="0" bIns="0" rtlCol="0" anchor="t"/>
            <a:lstStyle/>
            <a:p>
              <a:pPr marL="90000" lvl="1" indent="-90000" fontAlgn="base">
                <a:spcBef>
                  <a:spcPts val="200"/>
                </a:spcBef>
                <a:buClr>
                  <a:srgbClr val="000000"/>
                </a:buClr>
                <a:buSzPct val="100000"/>
                <a:buFont typeface="Wingdings" pitchFamily="2" charset="2"/>
                <a:buChar char="§"/>
              </a:pPr>
              <a:r>
                <a:rPr lang="en-US" sz="800" u="sng" dirty="0" smtClean="0">
                  <a:latin typeface="Arial" pitchFamily="34" charset="0"/>
                  <a:ea typeface="MS UI Gothic" pitchFamily="34" charset="-128"/>
                </a:rPr>
                <a:t>Housing:</a:t>
              </a:r>
              <a:r>
                <a:rPr lang="en-US" sz="800" dirty="0" smtClean="0">
                  <a:latin typeface="Arial" pitchFamily="34" charset="0"/>
                  <a:ea typeface="MS UI Gothic" pitchFamily="34" charset="-128"/>
                </a:rPr>
                <a:t>  Ergonomic grey or matt black*</a:t>
              </a:r>
              <a:endParaRPr lang="en-US" sz="800" dirty="0">
                <a:latin typeface="Arial" pitchFamily="34" charset="0"/>
                <a:ea typeface="MS UI Gothic" pitchFamily="34" charset="-128"/>
              </a:endParaRPr>
            </a:p>
            <a:p>
              <a:pPr marL="90000" lvl="1" indent="-90000" fontAlgn="base">
                <a:spcBef>
                  <a:spcPts val="200"/>
                </a:spcBef>
                <a:buClr>
                  <a:srgbClr val="000000"/>
                </a:buClr>
                <a:buSzPct val="100000"/>
                <a:buFont typeface="Wingdings" pitchFamily="2" charset="2"/>
                <a:buChar char="§"/>
              </a:pPr>
              <a:r>
                <a:rPr lang="en-US" sz="800" u="sng" dirty="0" smtClean="0">
                  <a:solidFill>
                    <a:srgbClr val="000000"/>
                  </a:solidFill>
                  <a:latin typeface="Arial" pitchFamily="34" charset="0"/>
                  <a:ea typeface="MS UI Gothic" pitchFamily="34" charset="-128"/>
                </a:rPr>
                <a:t>Stand base:</a:t>
              </a:r>
            </a:p>
            <a:p>
              <a:pPr marL="547200" lvl="2" indent="-90000" fontAlgn="base">
                <a:spcBef>
                  <a:spcPts val="200"/>
                </a:spcBef>
                <a:buClr>
                  <a:srgbClr val="000000"/>
                </a:buClr>
                <a:buSzPct val="100000"/>
                <a:buFont typeface="Wingdings" pitchFamily="2" charset="2"/>
                <a:buChar char="§"/>
              </a:pPr>
              <a:r>
                <a:rPr lang="en-US" sz="800" dirty="0" smtClean="0">
                  <a:solidFill>
                    <a:srgbClr val="000000"/>
                  </a:solidFill>
                  <a:latin typeface="Arial" pitchFamily="34" charset="0"/>
                  <a:ea typeface="MS UI Gothic" pitchFamily="34" charset="-128"/>
                </a:rPr>
                <a:t>Tilt 35°*, </a:t>
              </a:r>
              <a:r>
                <a:rPr lang="en-US" sz="800" dirty="0">
                  <a:solidFill>
                    <a:srgbClr val="000000"/>
                  </a:solidFill>
                  <a:latin typeface="Arial" pitchFamily="34" charset="0"/>
                  <a:ea typeface="MS UI Gothic" pitchFamily="34" charset="-128"/>
                </a:rPr>
                <a:t>detachable </a:t>
              </a:r>
              <a:endParaRPr lang="en-US" sz="800" dirty="0" smtClean="0">
                <a:solidFill>
                  <a:srgbClr val="000000"/>
                </a:solidFill>
                <a:latin typeface="Arial" pitchFamily="34" charset="0"/>
                <a:ea typeface="MS UI Gothic" pitchFamily="34" charset="-128"/>
              </a:endParaRPr>
            </a:p>
            <a:p>
              <a:pPr marL="547200" lvl="2" indent="-90000" fontAlgn="base">
                <a:spcBef>
                  <a:spcPts val="200"/>
                </a:spcBef>
                <a:buClr>
                  <a:srgbClr val="000000"/>
                </a:buClr>
                <a:buSzPct val="100000"/>
                <a:buFont typeface="Wingdings" pitchFamily="2" charset="2"/>
                <a:buChar char="§"/>
              </a:pPr>
              <a:r>
                <a:rPr lang="en-US" sz="800" dirty="0">
                  <a:solidFill>
                    <a:srgbClr val="000000"/>
                  </a:solidFill>
                  <a:latin typeface="Arial" pitchFamily="34" charset="0"/>
                  <a:ea typeface="MS UI Gothic" pitchFamily="34" charset="-128"/>
                </a:rPr>
                <a:t>H</a:t>
              </a:r>
              <a:r>
                <a:rPr lang="en-US" sz="800" dirty="0" smtClean="0">
                  <a:solidFill>
                    <a:srgbClr val="000000"/>
                  </a:solidFill>
                  <a:latin typeface="Arial" pitchFamily="34" charset="0"/>
                  <a:ea typeface="MS UI Gothic" pitchFamily="34" charset="-128"/>
                </a:rPr>
                <a:t>eight adjust 150 mm*</a:t>
              </a:r>
            </a:p>
            <a:p>
              <a:pPr marL="547200" lvl="2" indent="-90000" fontAlgn="base">
                <a:spcBef>
                  <a:spcPts val="200"/>
                </a:spcBef>
                <a:buClr>
                  <a:srgbClr val="000000"/>
                </a:buClr>
                <a:buSzPct val="100000"/>
                <a:buFont typeface="Wingdings" pitchFamily="2" charset="2"/>
                <a:buChar char="§"/>
              </a:pPr>
              <a:r>
                <a:rPr lang="en-US" sz="800" dirty="0">
                  <a:solidFill>
                    <a:srgbClr val="000000"/>
                  </a:solidFill>
                  <a:latin typeface="Arial" pitchFamily="34" charset="0"/>
                  <a:ea typeface="MS UI Gothic" pitchFamily="34" charset="-128"/>
                </a:rPr>
                <a:t>Swivel ≤ </a:t>
              </a:r>
              <a:r>
                <a:rPr lang="en-US" sz="800" dirty="0" smtClean="0">
                  <a:solidFill>
                    <a:srgbClr val="000000"/>
                  </a:solidFill>
                  <a:latin typeface="Arial" pitchFamily="34" charset="0"/>
                  <a:ea typeface="MS UI Gothic" pitchFamily="34" charset="-128"/>
                </a:rPr>
                <a:t>340°</a:t>
              </a:r>
            </a:p>
            <a:p>
              <a:pPr marL="547200" lvl="2" indent="-90000" fontAlgn="base">
                <a:spcBef>
                  <a:spcPts val="200"/>
                </a:spcBef>
                <a:buClr>
                  <a:srgbClr val="000000"/>
                </a:buClr>
                <a:buSzPct val="100000"/>
                <a:buFont typeface="Wingdings" pitchFamily="2" charset="2"/>
                <a:buChar char="§"/>
              </a:pPr>
              <a:r>
                <a:rPr lang="en-US" sz="800" dirty="0" smtClean="0">
                  <a:solidFill>
                    <a:srgbClr val="000000"/>
                  </a:solidFill>
                  <a:latin typeface="Arial" pitchFamily="34" charset="0"/>
                  <a:ea typeface="MS UI Gothic" pitchFamily="34" charset="-128"/>
                </a:rPr>
                <a:t>Height over desk </a:t>
              </a:r>
              <a:r>
                <a:rPr lang="en-US" sz="800" dirty="0">
                  <a:solidFill>
                    <a:srgbClr val="000000"/>
                  </a:solidFill>
                  <a:latin typeface="Arial" pitchFamily="34" charset="0"/>
                  <a:ea typeface="MS UI Gothic" pitchFamily="34" charset="-128"/>
                </a:rPr>
                <a:t>4</a:t>
              </a:r>
              <a:r>
                <a:rPr lang="en-US" sz="800" dirty="0" smtClean="0">
                  <a:solidFill>
                    <a:srgbClr val="000000"/>
                  </a:solidFill>
                  <a:latin typeface="Arial" pitchFamily="34" charset="0"/>
                  <a:ea typeface="MS UI Gothic" pitchFamily="34" charset="-128"/>
                </a:rPr>
                <a:t>0 mm*</a:t>
              </a:r>
            </a:p>
            <a:p>
              <a:pPr marL="547200" lvl="2" indent="-90000" fontAlgn="base">
                <a:spcBef>
                  <a:spcPts val="200"/>
                </a:spcBef>
                <a:buClr>
                  <a:srgbClr val="000000"/>
                </a:buClr>
                <a:buSzPct val="100000"/>
                <a:buFont typeface="Wingdings" pitchFamily="2" charset="2"/>
                <a:buChar char="§"/>
              </a:pPr>
              <a:r>
                <a:rPr lang="en-US" sz="800" dirty="0" smtClean="0">
                  <a:solidFill>
                    <a:srgbClr val="000000"/>
                  </a:solidFill>
                  <a:latin typeface="Arial" pitchFamily="34" charset="0"/>
                  <a:ea typeface="MS UI Gothic" pitchFamily="34" charset="-128"/>
                </a:rPr>
                <a:t>Pivot support</a:t>
              </a:r>
              <a:endParaRPr lang="en-US" sz="800" dirty="0">
                <a:solidFill>
                  <a:srgbClr val="000000"/>
                </a:solidFill>
                <a:latin typeface="Arial" pitchFamily="34" charset="0"/>
                <a:ea typeface="MS UI Gothic" pitchFamily="34" charset="-128"/>
              </a:endParaRPr>
            </a:p>
            <a:p>
              <a:pPr marL="90000" lvl="1" indent="-90000" fontAlgn="base">
                <a:spcBef>
                  <a:spcPts val="200"/>
                </a:spcBef>
                <a:buClr>
                  <a:srgbClr val="000000"/>
                </a:buClr>
                <a:buSzPct val="100000"/>
                <a:buFont typeface="Wingdings" pitchFamily="2" charset="2"/>
                <a:buChar char="§"/>
              </a:pPr>
              <a:r>
                <a:rPr lang="en-US" sz="800" u="sng" dirty="0" smtClean="0">
                  <a:solidFill>
                    <a:srgbClr val="000000"/>
                  </a:solidFill>
                  <a:latin typeface="Arial" pitchFamily="34" charset="0"/>
                  <a:ea typeface="MS UI Gothic" pitchFamily="34" charset="-128"/>
                </a:rPr>
                <a:t>Panel:</a:t>
              </a:r>
              <a:r>
                <a:rPr lang="en-US" sz="800" dirty="0" smtClean="0">
                  <a:solidFill>
                    <a:srgbClr val="000000"/>
                  </a:solidFill>
                  <a:latin typeface="Arial" pitchFamily="34" charset="0"/>
                  <a:ea typeface="MS UI Gothic" pitchFamily="34" charset="-128"/>
                </a:rPr>
                <a:t>  Wide </a:t>
              </a:r>
              <a:r>
                <a:rPr lang="en-US" sz="800" dirty="0">
                  <a:solidFill>
                    <a:srgbClr val="000000"/>
                  </a:solidFill>
                  <a:latin typeface="Arial" pitchFamily="34" charset="0"/>
                  <a:ea typeface="MS UI Gothic" pitchFamily="34" charset="-128"/>
                </a:rPr>
                <a:t>viewing angle technology*</a:t>
              </a:r>
            </a:p>
            <a:p>
              <a:pPr marL="90000" lvl="1" indent="-90000" fontAlgn="base">
                <a:spcBef>
                  <a:spcPts val="200"/>
                </a:spcBef>
                <a:buClr>
                  <a:srgbClr val="000000"/>
                </a:buClr>
                <a:buSzPct val="100000"/>
                <a:buFont typeface="Wingdings" pitchFamily="2" charset="2"/>
                <a:buChar char="§"/>
              </a:pPr>
              <a:r>
                <a:rPr lang="en-US" sz="800" u="sng" dirty="0" smtClean="0">
                  <a:solidFill>
                    <a:srgbClr val="000000"/>
                  </a:solidFill>
                  <a:latin typeface="Arial" pitchFamily="34" charset="0"/>
                  <a:ea typeface="MS UI Gothic" pitchFamily="34" charset="-128"/>
                </a:rPr>
                <a:t>Interfaces:</a:t>
              </a:r>
            </a:p>
            <a:p>
              <a:pPr marL="547200" lvl="2" indent="-90000" fontAlgn="base">
                <a:spcBef>
                  <a:spcPts val="200"/>
                </a:spcBef>
                <a:buClr>
                  <a:srgbClr val="000000"/>
                </a:buClr>
                <a:buSzPct val="100000"/>
                <a:buFont typeface="Wingdings" pitchFamily="2" charset="2"/>
                <a:buChar char="§"/>
              </a:pPr>
              <a:r>
                <a:rPr lang="en-US" sz="800" dirty="0" smtClean="0">
                  <a:solidFill>
                    <a:srgbClr val="000000"/>
                  </a:solidFill>
                  <a:latin typeface="Arial" pitchFamily="34" charset="0"/>
                  <a:ea typeface="MS UI Gothic" pitchFamily="34" charset="-128"/>
                </a:rPr>
                <a:t>Display </a:t>
              </a:r>
              <a:r>
                <a:rPr lang="en-US" sz="800" dirty="0">
                  <a:solidFill>
                    <a:srgbClr val="000000"/>
                  </a:solidFill>
                  <a:latin typeface="Arial" pitchFamily="34" charset="0"/>
                  <a:ea typeface="MS UI Gothic" pitchFamily="34" charset="-128"/>
                </a:rPr>
                <a:t>Port</a:t>
              </a:r>
              <a:r>
                <a:rPr lang="en-US" sz="800" dirty="0" smtClean="0">
                  <a:solidFill>
                    <a:srgbClr val="000000"/>
                  </a:solidFill>
                  <a:latin typeface="Arial" pitchFamily="34" charset="0"/>
                  <a:ea typeface="MS UI Gothic" pitchFamily="34" charset="-128"/>
                </a:rPr>
                <a:t>* or HDMI*, </a:t>
              </a:r>
              <a:br>
                <a:rPr lang="en-US" sz="800" dirty="0" smtClean="0">
                  <a:solidFill>
                    <a:srgbClr val="000000"/>
                  </a:solidFill>
                  <a:latin typeface="Arial" pitchFamily="34" charset="0"/>
                  <a:ea typeface="MS UI Gothic" pitchFamily="34" charset="-128"/>
                </a:rPr>
              </a:br>
              <a:r>
                <a:rPr lang="en-US" sz="800" dirty="0" smtClean="0">
                  <a:solidFill>
                    <a:srgbClr val="000000"/>
                  </a:solidFill>
                  <a:latin typeface="Arial" pitchFamily="34" charset="0"/>
                  <a:ea typeface="MS UI Gothic" pitchFamily="34" charset="-128"/>
                </a:rPr>
                <a:t>DVI-D (HDCP), VGA</a:t>
              </a:r>
            </a:p>
            <a:p>
              <a:pPr marL="547200" lvl="2" indent="-90000" fontAlgn="base">
                <a:spcBef>
                  <a:spcPts val="200"/>
                </a:spcBef>
                <a:buClr>
                  <a:srgbClr val="000000"/>
                </a:buClr>
                <a:buSzPct val="100000"/>
                <a:buFont typeface="Wingdings" pitchFamily="2" charset="2"/>
                <a:buChar char="§"/>
              </a:pPr>
              <a:r>
                <a:rPr lang="en-US" sz="800" dirty="0" smtClean="0">
                  <a:solidFill>
                    <a:srgbClr val="000000"/>
                  </a:solidFill>
                  <a:latin typeface="Arial" pitchFamily="34" charset="0"/>
                  <a:ea typeface="MS UI Gothic" pitchFamily="34" charset="-128"/>
                </a:rPr>
                <a:t>USB 2.0 </a:t>
              </a:r>
              <a:r>
                <a:rPr lang="en-US" sz="800" dirty="0">
                  <a:solidFill>
                    <a:srgbClr val="000000"/>
                  </a:solidFill>
                  <a:latin typeface="Arial" pitchFamily="34" charset="0"/>
                  <a:ea typeface="MS UI Gothic" pitchFamily="34" charset="-128"/>
                </a:rPr>
                <a:t>hub</a:t>
              </a:r>
              <a:r>
                <a:rPr lang="en-US" sz="800" dirty="0" smtClean="0">
                  <a:solidFill>
                    <a:srgbClr val="000000"/>
                  </a:solidFill>
                  <a:latin typeface="Arial" pitchFamily="34" charset="0"/>
                  <a:ea typeface="MS UI Gothic" pitchFamily="34" charset="-128"/>
                </a:rPr>
                <a:t>*</a:t>
              </a:r>
              <a:endParaRPr lang="en-US" sz="800" dirty="0">
                <a:solidFill>
                  <a:srgbClr val="000000"/>
                </a:solidFill>
                <a:latin typeface="Arial" pitchFamily="34" charset="0"/>
                <a:ea typeface="MS UI Gothic" pitchFamily="34" charset="-128"/>
              </a:endParaRPr>
            </a:p>
            <a:p>
              <a:pPr marL="90000" lvl="1" indent="-90000" fontAlgn="base">
                <a:spcBef>
                  <a:spcPts val="200"/>
                </a:spcBef>
                <a:buClr>
                  <a:srgbClr val="000000"/>
                </a:buClr>
                <a:buSzPct val="100000"/>
                <a:buFont typeface="Wingdings" pitchFamily="2" charset="2"/>
                <a:buChar char="§"/>
              </a:pPr>
              <a:r>
                <a:rPr lang="en-US" sz="800" u="sng" dirty="0" smtClean="0">
                  <a:solidFill>
                    <a:srgbClr val="000000"/>
                  </a:solidFill>
                  <a:latin typeface="Arial" pitchFamily="34" charset="0"/>
                  <a:ea typeface="MS UI Gothic" pitchFamily="34" charset="-128"/>
                </a:rPr>
                <a:t>Energy management:</a:t>
              </a:r>
            </a:p>
            <a:p>
              <a:pPr marL="547200" lvl="2" indent="-90000" fontAlgn="base">
                <a:spcBef>
                  <a:spcPts val="200"/>
                </a:spcBef>
                <a:buClr>
                  <a:srgbClr val="000000"/>
                </a:buClr>
                <a:buSzPct val="100000"/>
                <a:buFont typeface="Wingdings" pitchFamily="2" charset="2"/>
                <a:buChar char="§"/>
              </a:pPr>
              <a:r>
                <a:rPr lang="en-US" sz="800" dirty="0" smtClean="0">
                  <a:solidFill>
                    <a:srgbClr val="000000"/>
                  </a:solidFill>
                  <a:latin typeface="Arial" pitchFamily="34" charset="0"/>
                  <a:ea typeface="MS UI Gothic" pitchFamily="34" charset="-128"/>
                </a:rPr>
                <a:t>ECO </a:t>
              </a:r>
              <a:r>
                <a:rPr lang="en-US" sz="800" dirty="0">
                  <a:solidFill>
                    <a:srgbClr val="000000"/>
                  </a:solidFill>
                  <a:latin typeface="Arial" pitchFamily="34" charset="0"/>
                  <a:ea typeface="MS UI Gothic" pitchFamily="34" charset="-128"/>
                </a:rPr>
                <a:t>operation </a:t>
              </a:r>
              <a:r>
                <a:rPr lang="en-US" sz="800" dirty="0" smtClean="0">
                  <a:solidFill>
                    <a:srgbClr val="000000"/>
                  </a:solidFill>
                  <a:latin typeface="Arial" pitchFamily="34" charset="0"/>
                  <a:ea typeface="MS UI Gothic" pitchFamily="34" charset="-128"/>
                </a:rPr>
                <a:t>mode</a:t>
              </a:r>
            </a:p>
            <a:p>
              <a:pPr marL="547200" lvl="2" indent="-90000" fontAlgn="base">
                <a:spcBef>
                  <a:spcPts val="200"/>
                </a:spcBef>
                <a:buClr>
                  <a:srgbClr val="000000"/>
                </a:buClr>
                <a:buSzPct val="100000"/>
                <a:buFont typeface="Wingdings" pitchFamily="2" charset="2"/>
                <a:buChar char="§"/>
              </a:pPr>
              <a:r>
                <a:rPr lang="en-US" sz="800" dirty="0" smtClean="0">
                  <a:solidFill>
                    <a:srgbClr val="000000"/>
                  </a:solidFill>
                  <a:latin typeface="Arial" pitchFamily="34" charset="0"/>
                  <a:ea typeface="MS UI Gothic" pitchFamily="34" charset="-128"/>
                </a:rPr>
                <a:t>LED mode indicator</a:t>
              </a:r>
              <a:endParaRPr lang="en-US" sz="800" dirty="0">
                <a:solidFill>
                  <a:srgbClr val="000000"/>
                </a:solidFill>
                <a:latin typeface="Arial" pitchFamily="34" charset="0"/>
                <a:ea typeface="MS UI Gothic" pitchFamily="34" charset="-128"/>
              </a:endParaRPr>
            </a:p>
            <a:p>
              <a:pPr marL="90000" lvl="1" indent="-90000" fontAlgn="base">
                <a:spcBef>
                  <a:spcPts val="200"/>
                </a:spcBef>
                <a:buClr>
                  <a:srgbClr val="000000"/>
                </a:buClr>
                <a:buSzPct val="100000"/>
                <a:buFont typeface="Wingdings" pitchFamily="2" charset="2"/>
                <a:buChar char="§"/>
              </a:pPr>
              <a:r>
                <a:rPr lang="en-US" sz="800" u="sng" dirty="0" smtClean="0">
                  <a:solidFill>
                    <a:srgbClr val="000000"/>
                  </a:solidFill>
                  <a:latin typeface="Arial" pitchFamily="34" charset="0"/>
                  <a:ea typeface="MS UI Gothic" pitchFamily="34" charset="-128"/>
                </a:rPr>
                <a:t>Manageability:</a:t>
              </a:r>
              <a:r>
                <a:rPr lang="en-US" sz="800" dirty="0" smtClean="0">
                  <a:solidFill>
                    <a:srgbClr val="000000"/>
                  </a:solidFill>
                  <a:latin typeface="Arial" pitchFamily="34" charset="0"/>
                  <a:ea typeface="MS UI Gothic" pitchFamily="34" charset="-128"/>
                </a:rPr>
                <a:t> ‘DisplayView’</a:t>
              </a:r>
              <a:endParaRPr lang="en-US" sz="800" dirty="0" smtClean="0">
                <a:latin typeface="Arial" pitchFamily="34" charset="0"/>
                <a:ea typeface="MS UI Gothic" pitchFamily="34" charset="-128"/>
              </a:endParaRPr>
            </a:p>
            <a:p>
              <a:pPr marL="90000" lvl="1" indent="-90000" fontAlgn="base">
                <a:spcBef>
                  <a:spcPts val="200"/>
                </a:spcBef>
                <a:buClr>
                  <a:srgbClr val="000000"/>
                </a:buClr>
                <a:buSzPct val="100000"/>
                <a:buFont typeface="Wingdings" pitchFamily="2" charset="2"/>
                <a:buChar char="§"/>
              </a:pPr>
              <a:r>
                <a:rPr lang="en-US" sz="800" dirty="0" smtClean="0">
                  <a:latin typeface="Arial" pitchFamily="34" charset="0"/>
                  <a:ea typeface="MS UI Gothic" pitchFamily="34" charset="-128"/>
                </a:rPr>
                <a:t>24/7 approved</a:t>
              </a:r>
              <a:endParaRPr lang="en-US" sz="800" dirty="0">
                <a:latin typeface="Arial" pitchFamily="34" charset="0"/>
                <a:ea typeface="MS UI Gothic" pitchFamily="34" charset="-128"/>
              </a:endParaRPr>
            </a:p>
            <a:p>
              <a:pPr marL="90000" lvl="1" indent="-90000" fontAlgn="base">
                <a:spcBef>
                  <a:spcPts val="200"/>
                </a:spcBef>
                <a:buClr>
                  <a:srgbClr val="000000"/>
                </a:buClr>
                <a:buSzPct val="100000"/>
                <a:buFont typeface="Wingdings" pitchFamily="2" charset="2"/>
                <a:buChar char="§"/>
              </a:pPr>
              <a:endParaRPr lang="en-US" sz="800" dirty="0">
                <a:solidFill>
                  <a:srgbClr val="000000"/>
                </a:solidFill>
                <a:latin typeface="Arial" pitchFamily="34" charset="0"/>
                <a:ea typeface="MS UI Gothic" pitchFamily="34" charset="-128"/>
              </a:endParaRPr>
            </a:p>
          </p:txBody>
        </p:sp>
        <p:cxnSp>
          <p:nvCxnSpPr>
            <p:cNvPr id="88" name="Gerade Verbindung 87"/>
            <p:cNvCxnSpPr/>
            <p:nvPr/>
          </p:nvCxnSpPr>
          <p:spPr>
            <a:xfrm>
              <a:off x="2502463" y="2458178"/>
              <a:ext cx="1976340" cy="0"/>
            </a:xfrm>
            <a:prstGeom prst="line">
              <a:avLst/>
            </a:prstGeom>
            <a:ln w="31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Gerade Verbindung 88"/>
            <p:cNvCxnSpPr/>
            <p:nvPr/>
          </p:nvCxnSpPr>
          <p:spPr>
            <a:xfrm>
              <a:off x="2502463" y="4846746"/>
              <a:ext cx="1976340" cy="0"/>
            </a:xfrm>
            <a:prstGeom prst="line">
              <a:avLst/>
            </a:prstGeom>
            <a:ln w="31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4" name="Rechteck 43"/>
          <p:cNvSpPr/>
          <p:nvPr/>
        </p:nvSpPr>
        <p:spPr bwMode="auto">
          <a:xfrm>
            <a:off x="2727185" y="1114337"/>
            <a:ext cx="2192400" cy="223200"/>
          </a:xfrm>
          <a:prstGeom prst="rect">
            <a:avLst/>
          </a:prstGeom>
          <a:solidFill>
            <a:schemeClr val="tx2"/>
          </a:solidFill>
          <a:ln w="12700" algn="ctr">
            <a:noFill/>
            <a:miter lim="800000"/>
            <a:headEnd/>
            <a:tailEnd/>
          </a:ln>
        </p:spPr>
        <p:txBody>
          <a:bodyPr wrap="none" lIns="0" tIns="0" rIns="0" bIns="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900" spc="40" dirty="0" smtClean="0">
                <a:solidFill>
                  <a:schemeClr val="bg1"/>
                </a:solidFill>
              </a:rPr>
              <a:t>Ergonomic</a:t>
            </a:r>
            <a:endParaRPr lang="en-US" sz="900" spc="4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3486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duct Overview Superior</a:t>
            </a: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 dirty="0" smtClean="0"/>
              <a:t>P Line</a:t>
            </a:r>
            <a:endParaRPr lang="de-DE" dirty="0"/>
          </a:p>
        </p:txBody>
      </p:sp>
      <p:sp>
        <p:nvSpPr>
          <p:cNvPr id="29" name="Textplatzhalter 8"/>
          <p:cNvSpPr>
            <a:spLocks noGrp="1"/>
          </p:cNvSpPr>
          <p:nvPr>
            <p:ph type="body" sz="quarter" idx="21"/>
          </p:nvPr>
        </p:nvSpPr>
        <p:spPr>
          <a:xfrm>
            <a:off x="3195811" y="4249452"/>
            <a:ext cx="2600325" cy="288032"/>
          </a:xfrm>
        </p:spPr>
        <p:txBody>
          <a:bodyPr/>
          <a:lstStyle/>
          <a:p>
            <a:pPr algn="ctr"/>
            <a:r>
              <a:rPr lang="de-DE" sz="1100" b="1" dirty="0" smtClean="0">
                <a:solidFill>
                  <a:schemeClr val="tx1"/>
                </a:solidFill>
              </a:rPr>
              <a:t>2017</a:t>
            </a:r>
            <a:endParaRPr lang="de-DE" sz="1100" b="1" dirty="0">
              <a:solidFill>
                <a:schemeClr val="tx1"/>
              </a:solidFill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 smtClean="0"/>
              <a:t>2016 </a:t>
            </a:r>
            <a:endParaRPr lang="de-DE" dirty="0"/>
          </a:p>
        </p:txBody>
      </p: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83568" y="1945530"/>
            <a:ext cx="129615" cy="95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2" name="Picture 48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85220" y="1945749"/>
            <a:ext cx="77742" cy="9980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</p:pic>
      <p:sp>
        <p:nvSpPr>
          <p:cNvPr id="14" name="Rectangle 174"/>
          <p:cNvSpPr>
            <a:spLocks noChangeArrowheads="1"/>
          </p:cNvSpPr>
          <p:nvPr/>
        </p:nvSpPr>
        <p:spPr bwMode="auto">
          <a:xfrm>
            <a:off x="622132" y="2066254"/>
            <a:ext cx="2149668" cy="230400"/>
          </a:xfrm>
          <a:prstGeom prst="rect">
            <a:avLst/>
          </a:prstGeom>
          <a:gradFill>
            <a:gsLst>
              <a:gs pos="0">
                <a:schemeClr val="bg1"/>
              </a:gs>
              <a:gs pos="50000">
                <a:schemeClr val="bg2"/>
              </a:gs>
              <a:gs pos="100000">
                <a:schemeClr val="tx2"/>
              </a:gs>
            </a:gsLst>
            <a:lin ang="0" scaled="1"/>
          </a:gradFill>
          <a:ln w="9525" cap="flat" cmpd="sng" algn="ctr">
            <a:solidFill>
              <a:schemeClr val="accent6">
                <a:lumMod val="60000"/>
                <a:lumOff val="4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wrap="square" lIns="54000" tIns="46800" rIns="90000" bIns="46800" anchor="ctr" anchorCtr="0"/>
          <a:lstStyle/>
          <a:p>
            <a:pPr algn="l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sz="700" b="1" kern="0" dirty="0" smtClean="0">
                <a:latin typeface="Arial"/>
                <a:cs typeface="Arial"/>
              </a:rPr>
              <a:t>P27T-7 LED, </a:t>
            </a:r>
            <a:r>
              <a:rPr kumimoji="0" lang="en-US" sz="600" kern="0" dirty="0" smtClean="0">
                <a:latin typeface="Arial"/>
                <a:cs typeface="Arial"/>
              </a:rPr>
              <a:t>IPS,</a:t>
            </a:r>
            <a:r>
              <a:rPr kumimoji="0" lang="en-US" sz="600" b="1" kern="0" dirty="0" smtClean="0">
                <a:latin typeface="Arial"/>
                <a:cs typeface="Arial"/>
              </a:rPr>
              <a:t> </a:t>
            </a:r>
            <a:r>
              <a:rPr kumimoji="0" lang="en-US" sz="600" kern="0" dirty="0" smtClean="0">
                <a:latin typeface="Arial"/>
                <a:cs typeface="Arial"/>
              </a:rPr>
              <a:t>LED, marble grey</a:t>
            </a:r>
          </a:p>
          <a:p>
            <a:pPr>
              <a:defRPr/>
            </a:pPr>
            <a:r>
              <a:rPr kumimoji="0" lang="en-US" sz="600" kern="0" dirty="0" smtClean="0">
                <a:latin typeface="Arial"/>
                <a:cs typeface="Arial"/>
              </a:rPr>
              <a:t>27”,QHD, USB 3.0,DP,HDMI,DVI,VGA, </a:t>
            </a:r>
            <a:r>
              <a:rPr kumimoji="0" lang="en-US" sz="600" kern="0" dirty="0" err="1" smtClean="0">
                <a:latin typeface="Arial"/>
                <a:cs typeface="Arial"/>
              </a:rPr>
              <a:t>sRGB</a:t>
            </a:r>
            <a:endParaRPr kumimoji="0" lang="en-US" sz="600" kern="0" dirty="0" smtClean="0">
              <a:latin typeface="Arial"/>
              <a:cs typeface="Arial"/>
            </a:endParaRPr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83569" y="2485382"/>
            <a:ext cx="144017" cy="95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7" name="Picture 48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85221" y="2485601"/>
            <a:ext cx="86380" cy="9980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</p:pic>
      <p:pic>
        <p:nvPicPr>
          <p:cNvPr id="18" name="Picture 351"/>
          <p:cNvPicPr>
            <a:picLocks noChangeAspect="1" noChangeArrowheads="1"/>
          </p:cNvPicPr>
          <p:nvPr/>
        </p:nvPicPr>
        <p:blipFill>
          <a:blip r:embed="rId4" cstate="print"/>
          <a:srcRect l="976" t="2132"/>
          <a:stretch>
            <a:fillRect/>
          </a:stretch>
        </p:blipFill>
        <p:spPr bwMode="auto">
          <a:xfrm>
            <a:off x="1039885" y="2493668"/>
            <a:ext cx="147739" cy="7633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</p:pic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83569" y="3135220"/>
            <a:ext cx="144017" cy="95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0" name="Picture 48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85221" y="3135439"/>
            <a:ext cx="86380" cy="9980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</p:pic>
      <p:pic>
        <p:nvPicPr>
          <p:cNvPr id="25" name="Picture 2" descr="C:\Users\ABGDINTRONOB\AppData\Local\Microsoft\Windows\Temporary Internet Files\Content.Outlook\4X2HC0VT\erde.gif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216816" y="2478558"/>
            <a:ext cx="108000" cy="108000"/>
          </a:xfrm>
          <a:prstGeom prst="rect">
            <a:avLst/>
          </a:prstGeom>
          <a:noFill/>
        </p:spPr>
      </p:pic>
      <p:sp>
        <p:nvSpPr>
          <p:cNvPr id="26" name="Rectangle 174"/>
          <p:cNvSpPr>
            <a:spLocks noChangeArrowheads="1"/>
          </p:cNvSpPr>
          <p:nvPr/>
        </p:nvSpPr>
        <p:spPr bwMode="auto">
          <a:xfrm>
            <a:off x="2771800" y="2066966"/>
            <a:ext cx="3017512" cy="23040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tx2"/>
            </a:solidFill>
            <a:prstDash val="solid"/>
            <a:headEnd type="none" w="med" len="med"/>
            <a:tailEnd type="none" w="med" len="med"/>
          </a:ln>
          <a:effectLst/>
        </p:spPr>
        <p:txBody>
          <a:bodyPr wrap="square" lIns="54000" tIns="46800" rIns="90000" bIns="46800" anchor="ctr" anchorCtr="0"/>
          <a:lstStyle/>
          <a:p>
            <a:pPr>
              <a:defRPr/>
            </a:pPr>
            <a:r>
              <a:rPr lang="en-US" sz="700" b="1" kern="0" dirty="0" smtClean="0">
                <a:cs typeface="Arial"/>
              </a:rPr>
              <a:t>P27-8 TS Pro</a:t>
            </a:r>
            <a:r>
              <a:rPr lang="en-US" sz="600" b="1" kern="0" dirty="0" smtClean="0">
                <a:cs typeface="Arial"/>
              </a:rPr>
              <a:t>, </a:t>
            </a:r>
            <a:r>
              <a:rPr lang="en-US" sz="600" kern="0" dirty="0" smtClean="0">
                <a:cs typeface="Arial"/>
              </a:rPr>
              <a:t>IPS,</a:t>
            </a:r>
            <a:r>
              <a:rPr lang="en-US" sz="600" b="1" kern="0" dirty="0" smtClean="0">
                <a:cs typeface="Arial"/>
              </a:rPr>
              <a:t> </a:t>
            </a:r>
            <a:r>
              <a:rPr lang="en-US" sz="600" kern="0" dirty="0">
                <a:cs typeface="Arial"/>
              </a:rPr>
              <a:t>LED</a:t>
            </a:r>
            <a:r>
              <a:rPr lang="en-US" sz="600" kern="0" dirty="0" smtClean="0">
                <a:cs typeface="Arial"/>
              </a:rPr>
              <a:t>, black, frameless</a:t>
            </a:r>
            <a:endParaRPr lang="en-US" sz="600" kern="0" dirty="0">
              <a:cs typeface="Arial"/>
            </a:endParaRPr>
          </a:p>
          <a:p>
            <a:pPr>
              <a:defRPr/>
            </a:pPr>
            <a:r>
              <a:rPr lang="en-US" sz="600" kern="0" dirty="0">
                <a:cs typeface="Arial"/>
              </a:rPr>
              <a:t>27”,QHD, USB </a:t>
            </a:r>
            <a:r>
              <a:rPr lang="en-US" sz="600" kern="0" dirty="0" smtClean="0">
                <a:cs typeface="Arial"/>
              </a:rPr>
              <a:t>3.0,DP,HDMI,DVI, DP Daisy Chain, Presence sensor</a:t>
            </a:r>
            <a:endParaRPr lang="en-US" sz="600" kern="0" dirty="0">
              <a:cs typeface="Arial"/>
            </a:endParaRPr>
          </a:p>
        </p:txBody>
      </p:sp>
      <p:pic>
        <p:nvPicPr>
          <p:cNvPr id="31" name="Picture 351"/>
          <p:cNvPicPr>
            <a:picLocks noChangeAspect="1" noChangeArrowheads="1"/>
          </p:cNvPicPr>
          <p:nvPr/>
        </p:nvPicPr>
        <p:blipFill>
          <a:blip r:embed="rId6" cstate="print"/>
          <a:srcRect l="976" t="2132"/>
          <a:stretch>
            <a:fillRect/>
          </a:stretch>
        </p:blipFill>
        <p:spPr bwMode="auto">
          <a:xfrm>
            <a:off x="8491515" y="3932408"/>
            <a:ext cx="400965" cy="17198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</p:pic>
      <p:pic>
        <p:nvPicPr>
          <p:cNvPr id="33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597297" y="4167290"/>
            <a:ext cx="219660" cy="276668"/>
          </a:xfrm>
          <a:prstGeom prst="rect">
            <a:avLst/>
          </a:prstGeom>
          <a:noFill/>
        </p:spPr>
      </p:pic>
      <p:pic>
        <p:nvPicPr>
          <p:cNvPr id="34" name="Picture 48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594923" y="3343151"/>
            <a:ext cx="244598" cy="2700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</p:pic>
      <p:pic>
        <p:nvPicPr>
          <p:cNvPr id="35" name="Picture 2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460432" y="3673475"/>
            <a:ext cx="432048" cy="2589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6" name="Text Box 58"/>
          <p:cNvSpPr txBox="1">
            <a:spLocks noChangeArrowheads="1"/>
          </p:cNvSpPr>
          <p:nvPr/>
        </p:nvSpPr>
        <p:spPr bwMode="auto">
          <a:xfrm>
            <a:off x="6156175" y="1635646"/>
            <a:ext cx="2660781" cy="2703304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200"/>
              </a:spcAft>
              <a:buClr>
                <a:schemeClr val="accent2"/>
              </a:buClr>
              <a:buFont typeface="Wingdings" pitchFamily="2" charset="2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200"/>
              </a:spcAft>
              <a:buClr>
                <a:schemeClr val="accent3"/>
              </a:buClr>
              <a:buFont typeface="Wingdings" pitchFamily="2" charset="2"/>
              <a:buChar char="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4375" indent="-174625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200"/>
              </a:spcAft>
              <a:buClr>
                <a:schemeClr val="tx2"/>
              </a:buClr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96938" indent="-182563" algn="l" defTabSz="896938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2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9500" indent="-182563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200"/>
              </a:spcAft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4625" indent="-174625">
              <a:spcBef>
                <a:spcPts val="0"/>
              </a:spcBef>
            </a:pPr>
            <a:r>
              <a:rPr lang="en-US" sz="1000" dirty="0" smtClean="0"/>
              <a:t>Target customer and applications</a:t>
            </a:r>
          </a:p>
          <a:p>
            <a:pPr marL="174625" indent="-174625" fontAlgn="ctr">
              <a:spcBef>
                <a:spcPts val="0"/>
              </a:spcBef>
              <a:buFont typeface="Wingdings" pitchFamily="2" charset="2"/>
              <a:buChar char="n"/>
            </a:pPr>
            <a:r>
              <a:rPr lang="en-US" sz="800" b="0" dirty="0" smtClean="0"/>
              <a:t>Large Accounts, </a:t>
            </a:r>
            <a:r>
              <a:rPr lang="en-US" sz="800" b="0" dirty="0"/>
              <a:t>p</a:t>
            </a:r>
            <a:r>
              <a:rPr lang="en-US" sz="800" b="0" dirty="0" smtClean="0"/>
              <a:t>ublic sector, ergonomic enthusiasts</a:t>
            </a:r>
          </a:p>
          <a:p>
            <a:pPr marL="174625" indent="-174625" fontAlgn="ctr">
              <a:spcBef>
                <a:spcPts val="0"/>
              </a:spcBef>
              <a:buFont typeface="Wingdings" pitchFamily="2" charset="2"/>
              <a:buChar char="n"/>
            </a:pPr>
            <a:r>
              <a:rPr lang="en-US" sz="800" b="0" dirty="0"/>
              <a:t>H</a:t>
            </a:r>
            <a:r>
              <a:rPr lang="en-US" sz="800" b="0" dirty="0" smtClean="0"/>
              <a:t>ighly demanding graphic applications</a:t>
            </a:r>
          </a:p>
          <a:p>
            <a:pPr marL="174625" indent="-174625" fontAlgn="ctr">
              <a:spcBef>
                <a:spcPts val="0"/>
              </a:spcBef>
              <a:buFont typeface="Wingdings" pitchFamily="2" charset="2"/>
              <a:buChar char="n"/>
            </a:pPr>
            <a:r>
              <a:rPr lang="en-US" sz="800" b="0" dirty="0"/>
              <a:t>M</a:t>
            </a:r>
            <a:r>
              <a:rPr lang="en-US" sz="800" b="0" dirty="0" smtClean="0"/>
              <a:t>edical review (DICOM)</a:t>
            </a:r>
          </a:p>
          <a:p>
            <a:pPr marL="174625" indent="-174625" fontAlgn="ctr">
              <a:spcBef>
                <a:spcPts val="0"/>
              </a:spcBef>
              <a:buFont typeface="Wingdings" pitchFamily="2" charset="2"/>
              <a:buChar char="n"/>
            </a:pPr>
            <a:r>
              <a:rPr lang="en-US" sz="800" b="0" dirty="0" smtClean="0"/>
              <a:t>Process observation including 24/7 use</a:t>
            </a:r>
          </a:p>
          <a:p>
            <a:pPr marL="174625" indent="-174625" fontAlgn="ctr">
              <a:spcBef>
                <a:spcPts val="0"/>
              </a:spcBef>
              <a:buFont typeface="Wingdings" pitchFamily="2" charset="2"/>
              <a:buChar char="n"/>
            </a:pPr>
            <a:endParaRPr lang="en-US" sz="800" dirty="0" smtClean="0"/>
          </a:p>
          <a:p>
            <a:pPr marL="174625" indent="-174625">
              <a:spcBef>
                <a:spcPts val="0"/>
              </a:spcBef>
            </a:pPr>
            <a:r>
              <a:rPr lang="en-US" sz="1000" dirty="0" smtClean="0"/>
              <a:t>Benefits</a:t>
            </a:r>
          </a:p>
          <a:p>
            <a:pPr marL="174625" indent="-174625">
              <a:spcBef>
                <a:spcPts val="0"/>
              </a:spcBef>
              <a:buFont typeface="Wingdings" pitchFamily="2" charset="2"/>
              <a:buChar char="n"/>
            </a:pPr>
            <a:r>
              <a:rPr lang="en-US" sz="800" b="0" dirty="0" smtClean="0"/>
              <a:t>Premium picture performance and resolutions</a:t>
            </a:r>
          </a:p>
          <a:p>
            <a:pPr marL="174625" indent="-174625" fontAlgn="ctr">
              <a:spcBef>
                <a:spcPts val="0"/>
              </a:spcBef>
              <a:buFont typeface="Wingdings" pitchFamily="2" charset="2"/>
              <a:buChar char="n"/>
            </a:pPr>
            <a:r>
              <a:rPr lang="en-US" sz="800" b="0" dirty="0" smtClean="0"/>
              <a:t>Outstanding workplace ergonomics</a:t>
            </a:r>
          </a:p>
          <a:p>
            <a:pPr marL="174625" indent="-174625" fontAlgn="ctr">
              <a:spcBef>
                <a:spcPts val="0"/>
              </a:spcBef>
              <a:buFont typeface="Wingdings" pitchFamily="2" charset="2"/>
              <a:buChar char="n"/>
            </a:pPr>
            <a:r>
              <a:rPr lang="en-US" sz="800" b="0" dirty="0" smtClean="0"/>
              <a:t>Trend-setting usability by sensors assistance</a:t>
            </a:r>
            <a:endParaRPr lang="en-US" sz="800" dirty="0" smtClean="0"/>
          </a:p>
          <a:p>
            <a:pPr marL="441325" lvl="1" indent="-174625" fontAlgn="ctr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n"/>
            </a:pPr>
            <a:r>
              <a:rPr lang="en-US" sz="800" dirty="0" smtClean="0"/>
              <a:t>ABC – Automatic Brightness Control</a:t>
            </a:r>
          </a:p>
          <a:p>
            <a:pPr marL="441325" lvl="1" indent="-174625" fontAlgn="ctr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n"/>
            </a:pPr>
            <a:r>
              <a:rPr lang="en-US" sz="800" dirty="0" smtClean="0"/>
              <a:t>Presence sensor*</a:t>
            </a:r>
          </a:p>
          <a:p>
            <a:pPr marL="441325" lvl="1" indent="-174625" fontAlgn="ctr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n"/>
            </a:pPr>
            <a:r>
              <a:rPr lang="en-US" sz="800" dirty="0" smtClean="0"/>
              <a:t>Auto – Pivot control</a:t>
            </a:r>
          </a:p>
          <a:p>
            <a:pPr marL="174625" indent="-174625" fontAlgn="ctr">
              <a:spcBef>
                <a:spcPts val="0"/>
              </a:spcBef>
              <a:buFont typeface="Wingdings" pitchFamily="2" charset="2"/>
              <a:buChar char="n"/>
            </a:pPr>
            <a:r>
              <a:rPr lang="en-US" sz="800" b="0" dirty="0" smtClean="0"/>
              <a:t>Cutting-edge connectivity</a:t>
            </a:r>
          </a:p>
          <a:p>
            <a:pPr marL="174625" indent="-174625" fontAlgn="ctr">
              <a:spcBef>
                <a:spcPts val="0"/>
              </a:spcBef>
              <a:buFont typeface="Wingdings" pitchFamily="2" charset="2"/>
              <a:buChar char="n"/>
            </a:pPr>
            <a:r>
              <a:rPr lang="en-US" sz="800" b="0" dirty="0" smtClean="0"/>
              <a:t>Pioneering energy-efficiency</a:t>
            </a:r>
          </a:p>
          <a:p>
            <a:pPr marL="174625" indent="-174625" fontAlgn="ctr">
              <a:spcBef>
                <a:spcPts val="0"/>
              </a:spcBef>
              <a:buFont typeface="Wingdings" pitchFamily="2" charset="2"/>
              <a:buChar char="n"/>
            </a:pPr>
            <a:r>
              <a:rPr lang="en-US" sz="800" b="0" dirty="0" smtClean="0"/>
              <a:t>Designed for 24/7 use</a:t>
            </a:r>
          </a:p>
          <a:p>
            <a:pPr marL="174625" indent="-174625" fontAlgn="ctr">
              <a:spcBef>
                <a:spcPts val="0"/>
              </a:spcBef>
              <a:buFont typeface="Wingdings" pitchFamily="2" charset="2"/>
              <a:buChar char="n"/>
            </a:pPr>
            <a:r>
              <a:rPr lang="en-US" sz="800" b="0" dirty="0" smtClean="0"/>
              <a:t>Remote administration support</a:t>
            </a:r>
          </a:p>
        </p:txBody>
      </p:sp>
      <p:sp>
        <p:nvSpPr>
          <p:cNvPr id="4" name="Rechteck 3"/>
          <p:cNvSpPr/>
          <p:nvPr/>
        </p:nvSpPr>
        <p:spPr>
          <a:xfrm>
            <a:off x="6025548" y="1158855"/>
            <a:ext cx="83452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P Line</a:t>
            </a:r>
          </a:p>
        </p:txBody>
      </p:sp>
      <p:sp>
        <p:nvSpPr>
          <p:cNvPr id="27" name="Rectangle 174"/>
          <p:cNvSpPr>
            <a:spLocks noChangeArrowheads="1"/>
          </p:cNvSpPr>
          <p:nvPr/>
        </p:nvSpPr>
        <p:spPr bwMode="auto">
          <a:xfrm>
            <a:off x="620594" y="2687030"/>
            <a:ext cx="3231326" cy="23040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wrap="square" lIns="54000" tIns="46800" rIns="90000" bIns="46800" anchor="ctr" anchorCtr="0"/>
          <a:lstStyle/>
          <a:p>
            <a:pPr algn="l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sz="700" b="1" kern="0" dirty="0" smtClean="0">
                <a:latin typeface="Arial"/>
                <a:cs typeface="Arial"/>
              </a:rPr>
              <a:t>P24W-7 LED, </a:t>
            </a:r>
            <a:r>
              <a:rPr kumimoji="0" lang="en-US" sz="700" kern="0" dirty="0" smtClean="0">
                <a:latin typeface="Arial"/>
                <a:cs typeface="Arial"/>
              </a:rPr>
              <a:t>IPS</a:t>
            </a:r>
            <a:r>
              <a:rPr kumimoji="0" lang="en-US" sz="600" kern="0" dirty="0" smtClean="0">
                <a:latin typeface="Arial"/>
                <a:cs typeface="Arial"/>
              </a:rPr>
              <a:t>,</a:t>
            </a:r>
            <a:r>
              <a:rPr kumimoji="0" lang="en-US" sz="600" b="1" kern="0" dirty="0" smtClean="0">
                <a:latin typeface="Arial"/>
                <a:cs typeface="Arial"/>
              </a:rPr>
              <a:t> </a:t>
            </a:r>
            <a:r>
              <a:rPr kumimoji="0" lang="en-US" sz="600" kern="0" dirty="0" smtClean="0">
                <a:latin typeface="Arial"/>
                <a:cs typeface="Arial"/>
              </a:rPr>
              <a:t>LED, marble grey,</a:t>
            </a:r>
          </a:p>
          <a:p>
            <a:pPr algn="l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sz="600" kern="0" dirty="0" smtClean="0">
                <a:latin typeface="Arial"/>
                <a:cs typeface="Arial"/>
              </a:rPr>
              <a:t>24”, 1920x1200px,USB3.0,DP,HDMI,MHL,DVI,VGA</a:t>
            </a:r>
          </a:p>
        </p:txBody>
      </p:sp>
      <p:sp>
        <p:nvSpPr>
          <p:cNvPr id="37" name="Rectangle 174"/>
          <p:cNvSpPr>
            <a:spLocks noChangeArrowheads="1"/>
          </p:cNvSpPr>
          <p:nvPr/>
        </p:nvSpPr>
        <p:spPr bwMode="auto">
          <a:xfrm>
            <a:off x="611560" y="3291829"/>
            <a:ext cx="1296144" cy="381645"/>
          </a:xfrm>
          <a:prstGeom prst="rect">
            <a:avLst/>
          </a:prstGeom>
          <a:gradFill>
            <a:gsLst>
              <a:gs pos="0">
                <a:schemeClr val="bg1"/>
              </a:gs>
              <a:gs pos="50000">
                <a:schemeClr val="bg2"/>
              </a:gs>
              <a:gs pos="100000">
                <a:schemeClr val="tx2"/>
              </a:gs>
            </a:gsLst>
            <a:lin ang="0" scaled="1"/>
          </a:gradFill>
          <a:ln w="9525" cap="flat" cmpd="sng" algn="ctr">
            <a:solidFill>
              <a:schemeClr val="tx2"/>
            </a:solidFill>
            <a:prstDash val="solid"/>
            <a:headEnd type="none" w="med" len="med"/>
            <a:tailEnd type="none" w="med" len="med"/>
          </a:ln>
          <a:effectLst/>
        </p:spPr>
        <p:txBody>
          <a:bodyPr wrap="square" lIns="36000" tIns="46800" rIns="0" bIns="46800" anchor="ctr" anchorCtr="0"/>
          <a:lstStyle/>
          <a:p>
            <a:pPr>
              <a:defRPr/>
            </a:pPr>
            <a:r>
              <a:rPr lang="en-US" sz="700" b="1" kern="0" dirty="0">
                <a:latin typeface="Arial"/>
                <a:cs typeface="Arial"/>
              </a:rPr>
              <a:t>P24T-7 LED</a:t>
            </a:r>
            <a:r>
              <a:rPr lang="en-US" sz="600" kern="0" dirty="0" smtClean="0">
                <a:latin typeface="Arial"/>
                <a:cs typeface="Arial"/>
              </a:rPr>
              <a:t>, WVA, LED</a:t>
            </a:r>
            <a:r>
              <a:rPr lang="en-US" sz="600" kern="0" dirty="0">
                <a:latin typeface="Arial"/>
                <a:cs typeface="Arial"/>
              </a:rPr>
              <a:t>, marble </a:t>
            </a:r>
            <a:r>
              <a:rPr lang="en-US" sz="600" kern="0" dirty="0" smtClean="0">
                <a:latin typeface="Arial"/>
                <a:cs typeface="Arial"/>
              </a:rPr>
              <a:t>grey, 24”, 1920x1080px, USB3.0,DP,HDMI,MHL,DVI,VGA, Presence sensor, UC&amp;C</a:t>
            </a:r>
            <a:endParaRPr lang="en-US" sz="600" kern="0" dirty="0">
              <a:latin typeface="Arial"/>
              <a:cs typeface="Arial"/>
            </a:endParaRPr>
          </a:p>
        </p:txBody>
      </p:sp>
      <p:sp>
        <p:nvSpPr>
          <p:cNvPr id="42" name="Rectangle 174"/>
          <p:cNvSpPr>
            <a:spLocks noChangeArrowheads="1"/>
          </p:cNvSpPr>
          <p:nvPr/>
        </p:nvSpPr>
        <p:spPr bwMode="auto">
          <a:xfrm>
            <a:off x="623752" y="1460566"/>
            <a:ext cx="3456384" cy="2304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6">
                <a:lumMod val="60000"/>
                <a:lumOff val="4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wrap="square" lIns="54000" tIns="46800" rIns="90000" bIns="46800" anchor="ctr" anchorCtr="0"/>
          <a:lstStyle/>
          <a:p>
            <a:pPr>
              <a:defRPr/>
            </a:pPr>
            <a:r>
              <a:rPr lang="en-US" sz="700" b="1" kern="0" dirty="0">
                <a:cs typeface="Arial"/>
              </a:rPr>
              <a:t>P27T-7 UHD</a:t>
            </a:r>
            <a:r>
              <a:rPr lang="en-US" sz="600" kern="0" dirty="0">
                <a:cs typeface="Arial"/>
              </a:rPr>
              <a:t>, IPS, </a:t>
            </a:r>
            <a:r>
              <a:rPr lang="en-US" sz="600" kern="0" dirty="0" smtClean="0">
                <a:cs typeface="Arial"/>
              </a:rPr>
              <a:t>LED, marble grey</a:t>
            </a:r>
          </a:p>
          <a:p>
            <a:pPr>
              <a:defRPr/>
            </a:pPr>
            <a:r>
              <a:rPr lang="en-US" sz="600" kern="0" dirty="0" smtClean="0">
                <a:cs typeface="Arial"/>
              </a:rPr>
              <a:t>27”, USB </a:t>
            </a:r>
            <a:r>
              <a:rPr lang="en-US" sz="600" kern="0" dirty="0">
                <a:cs typeface="Arial"/>
              </a:rPr>
              <a:t>3.0, 1x DP, 1x mini DP, 1x HDMI 2.0, 2x HDMI/MHL</a:t>
            </a:r>
          </a:p>
        </p:txBody>
      </p:sp>
      <p:pic>
        <p:nvPicPr>
          <p:cNvPr id="28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79769" y="1294656"/>
            <a:ext cx="129615" cy="95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0" name="Picture 48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81421" y="1294875"/>
            <a:ext cx="77742" cy="9980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</p:pic>
      <p:pic>
        <p:nvPicPr>
          <p:cNvPr id="32" name="Picture 351"/>
          <p:cNvPicPr>
            <a:picLocks noChangeAspect="1" noChangeArrowheads="1"/>
          </p:cNvPicPr>
          <p:nvPr/>
        </p:nvPicPr>
        <p:blipFill>
          <a:blip r:embed="rId4" cstate="print"/>
          <a:srcRect l="976" t="2132"/>
          <a:stretch>
            <a:fillRect/>
          </a:stretch>
        </p:blipFill>
        <p:spPr bwMode="auto">
          <a:xfrm>
            <a:off x="1036085" y="1302942"/>
            <a:ext cx="132965" cy="7633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</p:pic>
      <p:sp>
        <p:nvSpPr>
          <p:cNvPr id="39" name="Rectangle 174"/>
          <p:cNvSpPr>
            <a:spLocks noChangeArrowheads="1"/>
          </p:cNvSpPr>
          <p:nvPr/>
        </p:nvSpPr>
        <p:spPr bwMode="auto">
          <a:xfrm>
            <a:off x="3059832" y="2522746"/>
            <a:ext cx="2735469" cy="23040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tx2"/>
            </a:solidFill>
            <a:prstDash val="solid"/>
            <a:headEnd type="none" w="med" len="med"/>
            <a:tailEnd type="none" w="med" len="med"/>
          </a:ln>
          <a:effectLst/>
        </p:spPr>
        <p:txBody>
          <a:bodyPr wrap="square" lIns="54000" tIns="46800" rIns="90000" bIns="46800" anchor="ctr" anchorCtr="0"/>
          <a:lstStyle/>
          <a:p>
            <a:pPr>
              <a:defRPr/>
            </a:pPr>
            <a:r>
              <a:rPr lang="en-US" sz="700" b="1" kern="0" dirty="0" smtClean="0">
                <a:cs typeface="Arial"/>
              </a:rPr>
              <a:t>P24-8 WS Pro, </a:t>
            </a:r>
            <a:r>
              <a:rPr lang="en-US" sz="600" kern="0" dirty="0" smtClean="0">
                <a:cs typeface="Arial"/>
              </a:rPr>
              <a:t>IPS,</a:t>
            </a:r>
            <a:r>
              <a:rPr lang="en-US" sz="600" b="1" kern="0" dirty="0" smtClean="0">
                <a:cs typeface="Arial"/>
              </a:rPr>
              <a:t> </a:t>
            </a:r>
            <a:r>
              <a:rPr lang="en-US" sz="600" kern="0" dirty="0">
                <a:cs typeface="Arial"/>
              </a:rPr>
              <a:t>LED, </a:t>
            </a:r>
            <a:r>
              <a:rPr lang="en-US" sz="600" kern="0" dirty="0" smtClean="0">
                <a:cs typeface="Arial"/>
              </a:rPr>
              <a:t>black, frameless</a:t>
            </a:r>
            <a:endParaRPr lang="en-US" sz="600" kern="0" dirty="0">
              <a:cs typeface="Arial"/>
            </a:endParaRPr>
          </a:p>
          <a:p>
            <a:pPr>
              <a:defRPr/>
            </a:pPr>
            <a:r>
              <a:rPr lang="en-US" sz="600" kern="0" dirty="0" smtClean="0">
                <a:cs typeface="Arial"/>
              </a:rPr>
              <a:t>24”, 1920x1200px,USB3.0,DP,HDMI,DVI, DP Daisy Chain; </a:t>
            </a:r>
            <a:r>
              <a:rPr lang="en-US" sz="600" kern="0" dirty="0">
                <a:cs typeface="Arial"/>
              </a:rPr>
              <a:t>P</a:t>
            </a:r>
            <a:r>
              <a:rPr lang="en-US" sz="600" kern="0" dirty="0" smtClean="0">
                <a:cs typeface="Arial"/>
              </a:rPr>
              <a:t>resence sensor</a:t>
            </a:r>
            <a:endParaRPr lang="en-US" sz="600" kern="0" dirty="0">
              <a:cs typeface="Arial"/>
            </a:endParaRPr>
          </a:p>
        </p:txBody>
      </p:sp>
      <p:sp>
        <p:nvSpPr>
          <p:cNvPr id="41" name="Rectangle 174"/>
          <p:cNvSpPr>
            <a:spLocks noChangeArrowheads="1"/>
          </p:cNvSpPr>
          <p:nvPr/>
        </p:nvSpPr>
        <p:spPr bwMode="auto">
          <a:xfrm>
            <a:off x="4086232" y="1456198"/>
            <a:ext cx="1703080" cy="23040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tx2"/>
            </a:solidFill>
            <a:prstDash val="dash"/>
            <a:headEnd type="none" w="med" len="med"/>
            <a:tailEnd type="none" w="med" len="med"/>
          </a:ln>
          <a:effectLst/>
        </p:spPr>
        <p:txBody>
          <a:bodyPr wrap="square" lIns="54000" tIns="46800" rIns="90000" bIns="46800" anchor="ctr" anchorCtr="0"/>
          <a:lstStyle/>
          <a:p>
            <a:pPr algn="l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sz="700" b="1" kern="0" dirty="0" smtClean="0">
                <a:latin typeface="Arial"/>
                <a:cs typeface="Arial"/>
              </a:rPr>
              <a:t>Successor</a:t>
            </a:r>
            <a:endParaRPr kumimoji="0" lang="en-US" sz="700" kern="0" dirty="0" smtClean="0">
              <a:latin typeface="Arial"/>
              <a:cs typeface="Arial"/>
            </a:endParaRPr>
          </a:p>
        </p:txBody>
      </p:sp>
      <p:sp>
        <p:nvSpPr>
          <p:cNvPr id="43" name="Rectangle 174"/>
          <p:cNvSpPr>
            <a:spLocks noChangeArrowheads="1"/>
          </p:cNvSpPr>
          <p:nvPr/>
        </p:nvSpPr>
        <p:spPr bwMode="auto">
          <a:xfrm>
            <a:off x="2678584" y="3289646"/>
            <a:ext cx="3110728" cy="23040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tx2"/>
            </a:solidFill>
            <a:prstDash val="solid"/>
            <a:headEnd type="none" w="med" len="med"/>
            <a:tailEnd type="none" w="med" len="med"/>
          </a:ln>
          <a:effectLst/>
        </p:spPr>
        <p:txBody>
          <a:bodyPr wrap="square" lIns="54000" tIns="46800" rIns="90000" bIns="46800" anchor="ctr" anchorCtr="0"/>
          <a:lstStyle/>
          <a:p>
            <a:pPr>
              <a:defRPr/>
            </a:pPr>
            <a:r>
              <a:rPr lang="en-US" sz="700" b="1" kern="0" dirty="0" smtClean="0">
                <a:latin typeface="Arial"/>
                <a:cs typeface="Arial"/>
              </a:rPr>
              <a:t>P24-8 TE Pro</a:t>
            </a:r>
            <a:r>
              <a:rPr lang="en-US" sz="700" kern="0" dirty="0" smtClean="0">
                <a:latin typeface="Arial"/>
                <a:cs typeface="Arial"/>
              </a:rPr>
              <a:t>, </a:t>
            </a:r>
            <a:r>
              <a:rPr lang="en-US" sz="600" kern="0" dirty="0" smtClean="0">
                <a:latin typeface="Arial"/>
                <a:cs typeface="Arial"/>
              </a:rPr>
              <a:t>IPS, LED, marble grey, narrow frame,</a:t>
            </a:r>
            <a:br>
              <a:rPr lang="en-US" sz="600" kern="0" dirty="0" smtClean="0">
                <a:latin typeface="Arial"/>
                <a:cs typeface="Arial"/>
              </a:rPr>
            </a:br>
            <a:r>
              <a:rPr lang="en-US" sz="600" kern="0" dirty="0" smtClean="0">
                <a:latin typeface="Arial"/>
                <a:cs typeface="Arial"/>
              </a:rPr>
              <a:t>23.8”, 1920x1080px, USB3.0, DP, DVI, VGA, </a:t>
            </a:r>
            <a:r>
              <a:rPr lang="en-US" sz="600" kern="0" dirty="0">
                <a:cs typeface="Arial"/>
              </a:rPr>
              <a:t>Presence sensor, </a:t>
            </a:r>
            <a:r>
              <a:rPr lang="en-US" sz="600" kern="0" dirty="0" smtClean="0">
                <a:cs typeface="Arial"/>
              </a:rPr>
              <a:t>UC&amp;C</a:t>
            </a:r>
            <a:endParaRPr lang="en-US" sz="600" kern="0" dirty="0">
              <a:cs typeface="Arial"/>
            </a:endParaRPr>
          </a:p>
        </p:txBody>
      </p:sp>
      <p:pic>
        <p:nvPicPr>
          <p:cNvPr id="45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915816" y="3147814"/>
            <a:ext cx="144017" cy="95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6" name="Picture 48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117468" y="3148033"/>
            <a:ext cx="86380" cy="9980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</p:pic>
      <p:pic>
        <p:nvPicPr>
          <p:cNvPr id="47" name="Picture 351"/>
          <p:cNvPicPr>
            <a:picLocks noChangeAspect="1" noChangeArrowheads="1"/>
          </p:cNvPicPr>
          <p:nvPr/>
        </p:nvPicPr>
        <p:blipFill>
          <a:blip r:embed="rId4" cstate="print"/>
          <a:srcRect l="976" t="2132"/>
          <a:stretch>
            <a:fillRect/>
          </a:stretch>
        </p:blipFill>
        <p:spPr bwMode="auto">
          <a:xfrm>
            <a:off x="3272132" y="3156100"/>
            <a:ext cx="147739" cy="7633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</p:pic>
      <p:pic>
        <p:nvPicPr>
          <p:cNvPr id="48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915817" y="1923678"/>
            <a:ext cx="144017" cy="95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9" name="Picture 48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117469" y="1923897"/>
            <a:ext cx="86380" cy="9980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</p:pic>
      <p:pic>
        <p:nvPicPr>
          <p:cNvPr id="50" name="Picture 351"/>
          <p:cNvPicPr>
            <a:picLocks noChangeAspect="1" noChangeArrowheads="1"/>
          </p:cNvPicPr>
          <p:nvPr/>
        </p:nvPicPr>
        <p:blipFill>
          <a:blip r:embed="rId4" cstate="print"/>
          <a:srcRect l="976" t="2132"/>
          <a:stretch>
            <a:fillRect/>
          </a:stretch>
        </p:blipFill>
        <p:spPr bwMode="auto">
          <a:xfrm>
            <a:off x="3272133" y="1931964"/>
            <a:ext cx="147739" cy="7633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</p:pic>
      <p:sp>
        <p:nvSpPr>
          <p:cNvPr id="3" name="Textfeld 2"/>
          <p:cNvSpPr txBox="1"/>
          <p:nvPr/>
        </p:nvSpPr>
        <p:spPr>
          <a:xfrm>
            <a:off x="7388820" y="4760128"/>
            <a:ext cx="168668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 smtClean="0"/>
              <a:t>(* featured with selected models</a:t>
            </a:r>
            <a:r>
              <a:rPr lang="de-DE" sz="800" dirty="0" smtClean="0"/>
              <a:t>)</a:t>
            </a:r>
            <a:endParaRPr lang="de-DE" sz="800" dirty="0"/>
          </a:p>
        </p:txBody>
      </p:sp>
      <p:pic>
        <p:nvPicPr>
          <p:cNvPr id="38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125367" y="2393368"/>
            <a:ext cx="144017" cy="95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0" name="Picture 48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327019" y="2393587"/>
            <a:ext cx="86380" cy="9980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</p:pic>
      <p:pic>
        <p:nvPicPr>
          <p:cNvPr id="44" name="Picture 351"/>
          <p:cNvPicPr>
            <a:picLocks noChangeAspect="1" noChangeArrowheads="1"/>
          </p:cNvPicPr>
          <p:nvPr/>
        </p:nvPicPr>
        <p:blipFill>
          <a:blip r:embed="rId4" cstate="print"/>
          <a:srcRect l="976" t="2132"/>
          <a:stretch>
            <a:fillRect/>
          </a:stretch>
        </p:blipFill>
        <p:spPr bwMode="auto">
          <a:xfrm>
            <a:off x="3481683" y="2401654"/>
            <a:ext cx="147739" cy="7633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077426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28995" y="51470"/>
            <a:ext cx="7561264" cy="770953"/>
          </a:xfrm>
        </p:spPr>
        <p:txBody>
          <a:bodyPr/>
          <a:lstStyle/>
          <a:p>
            <a:r>
              <a:rPr lang="en-US" dirty="0"/>
              <a:t>Product Overview </a:t>
            </a:r>
            <a:r>
              <a:rPr lang="en-US" dirty="0" smtClean="0"/>
              <a:t>Advanced</a:t>
            </a: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 dirty="0" smtClean="0"/>
              <a:t>B Line</a:t>
            </a:r>
            <a:endParaRPr lang="de-DE" dirty="0"/>
          </a:p>
        </p:txBody>
      </p:sp>
      <p:sp>
        <p:nvSpPr>
          <p:cNvPr id="85" name="Textplatzhalter 8"/>
          <p:cNvSpPr>
            <a:spLocks noGrp="1"/>
          </p:cNvSpPr>
          <p:nvPr>
            <p:ph type="body" sz="quarter" idx="21"/>
          </p:nvPr>
        </p:nvSpPr>
        <p:spPr>
          <a:xfrm>
            <a:off x="3195811" y="4244764"/>
            <a:ext cx="2600325" cy="288032"/>
          </a:xfrm>
        </p:spPr>
        <p:txBody>
          <a:bodyPr/>
          <a:lstStyle/>
          <a:p>
            <a:pPr algn="ctr"/>
            <a:r>
              <a:rPr lang="de-DE" sz="1100" b="1" dirty="0" smtClean="0">
                <a:solidFill>
                  <a:schemeClr val="tx1"/>
                </a:solidFill>
              </a:rPr>
              <a:t>2017</a:t>
            </a:r>
            <a:endParaRPr lang="de-DE" sz="1100" b="1" dirty="0">
              <a:solidFill>
                <a:schemeClr val="tx1"/>
              </a:solidFill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 smtClean="0"/>
              <a:t> 2016</a:t>
            </a:r>
            <a:endParaRPr lang="de-DE" dirty="0"/>
          </a:p>
        </p:txBody>
      </p:sp>
      <p:sp>
        <p:nvSpPr>
          <p:cNvPr id="17" name="Rectangle 174"/>
          <p:cNvSpPr>
            <a:spLocks noChangeArrowheads="1"/>
          </p:cNvSpPr>
          <p:nvPr/>
        </p:nvSpPr>
        <p:spPr bwMode="auto">
          <a:xfrm>
            <a:off x="617315" y="1154074"/>
            <a:ext cx="2154485" cy="23040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tx2"/>
            </a:solidFill>
            <a:prstDash val="solid"/>
            <a:headEnd type="none" w="med" len="med"/>
            <a:tailEnd type="none" w="med" len="med"/>
          </a:ln>
          <a:effectLst/>
        </p:spPr>
        <p:txBody>
          <a:bodyPr wrap="square" lIns="54000" tIns="46800" rIns="90000" bIns="46800" anchor="ctr" anchorCtr="0"/>
          <a:lstStyle/>
          <a:p>
            <a:pPr algn="l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sz="700" b="1" kern="0" dirty="0" smtClean="0">
                <a:latin typeface="Arial"/>
                <a:cs typeface="Arial"/>
              </a:rPr>
              <a:t>B27T-7 LED</a:t>
            </a:r>
            <a:r>
              <a:rPr kumimoji="0" lang="en-US" sz="700" b="1" kern="0" smtClean="0">
                <a:latin typeface="Arial"/>
                <a:cs typeface="Arial"/>
              </a:rPr>
              <a:t>, </a:t>
            </a:r>
            <a:r>
              <a:rPr kumimoji="0" lang="en-US" sz="600" kern="0" smtClean="0">
                <a:latin typeface="Arial"/>
                <a:cs typeface="Arial"/>
              </a:rPr>
              <a:t>300cd/m², IPS</a:t>
            </a:r>
            <a:r>
              <a:rPr lang="en-US" sz="600" kern="0" smtClean="0">
                <a:latin typeface="Arial"/>
                <a:cs typeface="Arial"/>
              </a:rPr>
              <a:t>,</a:t>
            </a:r>
            <a:r>
              <a:rPr kumimoji="0" lang="en-US" sz="600" kern="0" smtClean="0">
                <a:latin typeface="Arial"/>
                <a:cs typeface="Arial"/>
              </a:rPr>
              <a:t> </a:t>
            </a:r>
            <a:r>
              <a:rPr kumimoji="0" lang="en-US" sz="600" kern="0" dirty="0" smtClean="0">
                <a:latin typeface="Arial"/>
                <a:cs typeface="Arial"/>
              </a:rPr>
              <a:t>marble grey </a:t>
            </a:r>
            <a:br>
              <a:rPr kumimoji="0" lang="en-US" sz="600" kern="0" dirty="0" smtClean="0">
                <a:latin typeface="Arial"/>
                <a:cs typeface="Arial"/>
              </a:rPr>
            </a:br>
            <a:r>
              <a:rPr kumimoji="0" lang="en-US" sz="600" kern="0" dirty="0" smtClean="0">
                <a:latin typeface="Arial"/>
                <a:cs typeface="Arial"/>
              </a:rPr>
              <a:t>27”, FHD, </a:t>
            </a:r>
            <a:r>
              <a:rPr lang="en-US" sz="600" kern="0" dirty="0">
                <a:cs typeface="Arial"/>
              </a:rPr>
              <a:t>1920x1080px, USB, DP, DVI, VGA, </a:t>
            </a:r>
            <a:endParaRPr kumimoji="0" lang="en-US" sz="600" kern="0" dirty="0" smtClean="0">
              <a:latin typeface="Arial"/>
              <a:cs typeface="Arial"/>
            </a:endParaRPr>
          </a:p>
        </p:txBody>
      </p:sp>
      <p:sp>
        <p:nvSpPr>
          <p:cNvPr id="30" name="Rectangle 174"/>
          <p:cNvSpPr>
            <a:spLocks noChangeArrowheads="1"/>
          </p:cNvSpPr>
          <p:nvPr/>
        </p:nvSpPr>
        <p:spPr bwMode="auto">
          <a:xfrm>
            <a:off x="616846" y="1765306"/>
            <a:ext cx="1074833" cy="230400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50000">
                <a:schemeClr val="bg2"/>
              </a:gs>
              <a:gs pos="100000">
                <a:schemeClr val="tx2"/>
              </a:gs>
            </a:gsLst>
            <a:lin ang="0" scaled="1"/>
            <a:tileRect/>
          </a:gra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wrap="square" lIns="54000" tIns="46800" rIns="90000" bIns="46800" anchor="ctr" anchorCtr="0"/>
          <a:lstStyle/>
          <a:p>
            <a:pPr algn="l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sz="700" b="1" kern="0" dirty="0" smtClean="0">
                <a:latin typeface="Arial"/>
                <a:cs typeface="Arial"/>
              </a:rPr>
              <a:t>B24T-7 LED</a:t>
            </a:r>
            <a:endParaRPr kumimoji="0" lang="en-US" sz="600" kern="0" dirty="0" smtClean="0">
              <a:latin typeface="Arial"/>
              <a:cs typeface="Arial"/>
            </a:endParaRPr>
          </a:p>
        </p:txBody>
      </p:sp>
      <p:sp>
        <p:nvSpPr>
          <p:cNvPr id="35" name="Rectangle 174"/>
          <p:cNvSpPr>
            <a:spLocks noChangeArrowheads="1"/>
          </p:cNvSpPr>
          <p:nvPr/>
        </p:nvSpPr>
        <p:spPr bwMode="auto">
          <a:xfrm>
            <a:off x="616084" y="2112429"/>
            <a:ext cx="1075596" cy="230400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50000">
                <a:schemeClr val="bg2"/>
              </a:gs>
              <a:gs pos="100000">
                <a:schemeClr val="tx2"/>
              </a:gs>
            </a:gsLst>
            <a:lin ang="0" scaled="1"/>
            <a:tileRect/>
          </a:gradFill>
          <a:ln w="9525" cap="flat" cmpd="sng" algn="ctr">
            <a:solidFill>
              <a:schemeClr val="tx2">
                <a:lumMod val="75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wrap="square" lIns="54000" tIns="46800" rIns="90000" bIns="46800" anchor="ctr" anchorCtr="0"/>
          <a:lstStyle/>
          <a:p>
            <a:pPr algn="l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sz="700" b="1" kern="0" dirty="0" smtClean="0">
                <a:latin typeface="Arial"/>
                <a:cs typeface="Arial"/>
              </a:rPr>
              <a:t>B24T-7 LED </a:t>
            </a:r>
            <a:r>
              <a:rPr kumimoji="0" lang="en-US" sz="700" b="1" kern="0" dirty="0" err="1" smtClean="0">
                <a:latin typeface="Arial"/>
                <a:cs typeface="Arial"/>
              </a:rPr>
              <a:t>proGREEN</a:t>
            </a:r>
            <a:endParaRPr kumimoji="0" lang="en-US" sz="600" kern="0" dirty="0" smtClean="0">
              <a:latin typeface="Arial"/>
              <a:cs typeface="Arial"/>
            </a:endParaRPr>
          </a:p>
        </p:txBody>
      </p:sp>
      <p:sp>
        <p:nvSpPr>
          <p:cNvPr id="41" name="Rectangle 174"/>
          <p:cNvSpPr>
            <a:spLocks noChangeArrowheads="1"/>
          </p:cNvSpPr>
          <p:nvPr/>
        </p:nvSpPr>
        <p:spPr bwMode="auto">
          <a:xfrm>
            <a:off x="616083" y="3235926"/>
            <a:ext cx="643549" cy="230400"/>
          </a:xfrm>
          <a:prstGeom prst="rect">
            <a:avLst/>
          </a:prstGeom>
          <a:gradFill>
            <a:gsLst>
              <a:gs pos="0">
                <a:schemeClr val="bg1"/>
              </a:gs>
              <a:gs pos="50000">
                <a:schemeClr val="bg2"/>
              </a:gs>
              <a:gs pos="100000">
                <a:schemeClr val="tx2"/>
              </a:gs>
            </a:gsLst>
            <a:lin ang="0" scaled="1"/>
          </a:gradFill>
          <a:ln w="9525" cap="flat" cmpd="sng" algn="ctr">
            <a:solidFill>
              <a:schemeClr val="tx2">
                <a:lumMod val="75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wrap="square" lIns="54000" tIns="46800" rIns="90000" bIns="46800" anchor="ctr" anchorCtr="0"/>
          <a:lstStyle/>
          <a:p>
            <a:pPr lvl="0" algn="l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sz="700" b="1" kern="0" dirty="0" smtClean="0">
                <a:latin typeface="Arial"/>
                <a:cs typeface="Arial"/>
              </a:rPr>
              <a:t>B22T-7 LED </a:t>
            </a:r>
            <a:r>
              <a:rPr kumimoji="0" lang="en-US" sz="700" b="1" kern="0" dirty="0" err="1" smtClean="0">
                <a:latin typeface="Arial"/>
                <a:cs typeface="Arial"/>
              </a:rPr>
              <a:t>proGREEN</a:t>
            </a:r>
            <a:endParaRPr kumimoji="0" lang="en-US" sz="600" kern="0" dirty="0" smtClean="0">
              <a:latin typeface="Arial"/>
              <a:cs typeface="Arial"/>
            </a:endParaRPr>
          </a:p>
        </p:txBody>
      </p:sp>
      <p:sp>
        <p:nvSpPr>
          <p:cNvPr id="48" name="Rectangle 174"/>
          <p:cNvSpPr>
            <a:spLocks noChangeArrowheads="1"/>
          </p:cNvSpPr>
          <p:nvPr/>
        </p:nvSpPr>
        <p:spPr bwMode="auto">
          <a:xfrm>
            <a:off x="618111" y="3744869"/>
            <a:ext cx="5168364" cy="23040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tx2"/>
            </a:solidFill>
            <a:prstDash val="solid"/>
            <a:headEnd type="none" w="med" len="med"/>
            <a:tailEnd type="none" w="med" len="med"/>
          </a:ln>
          <a:effectLst/>
        </p:spPr>
        <p:txBody>
          <a:bodyPr wrap="square" lIns="54000" tIns="46800" rIns="90000" bIns="46800" anchor="ctr" anchorCtr="0"/>
          <a:lstStyle/>
          <a:p>
            <a:pPr>
              <a:defRPr/>
            </a:pPr>
            <a:r>
              <a:rPr lang="en-US" sz="700" b="1" kern="0" dirty="0" smtClean="0">
                <a:latin typeface="Arial"/>
                <a:cs typeface="Arial"/>
              </a:rPr>
              <a:t>B19-7 LED</a:t>
            </a:r>
            <a:r>
              <a:rPr lang="en-US" sz="800" kern="0" dirty="0" smtClean="0">
                <a:cs typeface="Arial"/>
              </a:rPr>
              <a:t>, </a:t>
            </a:r>
            <a:r>
              <a:rPr lang="en-US" sz="600" kern="0" dirty="0" smtClean="0">
                <a:cs typeface="Arial"/>
              </a:rPr>
              <a:t>IPS,</a:t>
            </a:r>
            <a:r>
              <a:rPr lang="en-US" sz="600" kern="0" dirty="0" smtClean="0">
                <a:latin typeface="Arial"/>
                <a:cs typeface="Arial"/>
              </a:rPr>
              <a:t> marble grey</a:t>
            </a:r>
          </a:p>
          <a:p>
            <a:pPr>
              <a:defRPr/>
            </a:pPr>
            <a:r>
              <a:rPr lang="en-US" sz="600" kern="0" dirty="0" smtClean="0">
                <a:latin typeface="Arial"/>
                <a:cs typeface="Arial"/>
              </a:rPr>
              <a:t>19”, 5:4 format,1280x1024, </a:t>
            </a:r>
            <a:r>
              <a:rPr lang="en-US" sz="600" kern="0" dirty="0">
                <a:cs typeface="Arial"/>
              </a:rPr>
              <a:t>DVI,VGA</a:t>
            </a:r>
            <a:endParaRPr lang="en-US" sz="600" kern="0" dirty="0" smtClean="0">
              <a:latin typeface="Arial"/>
              <a:cs typeface="Arial"/>
            </a:endParaRPr>
          </a:p>
        </p:txBody>
      </p:sp>
      <p:sp>
        <p:nvSpPr>
          <p:cNvPr id="52" name="Rectangle 174"/>
          <p:cNvSpPr>
            <a:spLocks noChangeArrowheads="1"/>
          </p:cNvSpPr>
          <p:nvPr/>
        </p:nvSpPr>
        <p:spPr bwMode="auto">
          <a:xfrm>
            <a:off x="619833" y="2889413"/>
            <a:ext cx="5166641" cy="23040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tx2"/>
            </a:solidFill>
            <a:prstDash val="solid"/>
            <a:headEnd type="none" w="med" len="med"/>
            <a:tailEnd type="none" w="med" len="med"/>
          </a:ln>
          <a:effectLst/>
        </p:spPr>
        <p:txBody>
          <a:bodyPr wrap="square" lIns="54000" tIns="46800" rIns="90000" bIns="46800" anchor="ctr" anchorCtr="0"/>
          <a:lstStyle/>
          <a:p>
            <a:pPr>
              <a:defRPr/>
            </a:pPr>
            <a:r>
              <a:rPr kumimoji="0" lang="en-US" sz="700" b="1" kern="0" dirty="0" smtClean="0">
                <a:latin typeface="Arial"/>
                <a:cs typeface="Arial"/>
              </a:rPr>
              <a:t>B22W-7 LED,</a:t>
            </a:r>
            <a:r>
              <a:rPr lang="en-US" sz="600" kern="0" dirty="0" smtClean="0">
                <a:cs typeface="Arial"/>
              </a:rPr>
              <a:t> marble grey</a:t>
            </a:r>
          </a:p>
          <a:p>
            <a:pPr>
              <a:defRPr/>
            </a:pPr>
            <a:r>
              <a:rPr lang="en-US" sz="600" kern="0" dirty="0" smtClean="0">
                <a:cs typeface="Arial"/>
              </a:rPr>
              <a:t>22”, 16:10 format,1680x1050px</a:t>
            </a:r>
            <a:r>
              <a:rPr lang="en-US" sz="600" kern="0" dirty="0">
                <a:cs typeface="Arial"/>
              </a:rPr>
              <a:t>, USB,DP,DVI,VGA</a:t>
            </a:r>
            <a:endParaRPr lang="en-US" sz="600" kern="0" dirty="0" smtClean="0">
              <a:cs typeface="Arial"/>
            </a:endParaRPr>
          </a:p>
        </p:txBody>
      </p:sp>
      <p:pic>
        <p:nvPicPr>
          <p:cNvPr id="58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275128" y="2961237"/>
            <a:ext cx="144017" cy="95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9" name="Picture 48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476780" y="2961456"/>
            <a:ext cx="86380" cy="9980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</p:pic>
      <p:pic>
        <p:nvPicPr>
          <p:cNvPr id="60" name="Picture 351"/>
          <p:cNvPicPr>
            <a:picLocks noChangeAspect="1" noChangeArrowheads="1"/>
          </p:cNvPicPr>
          <p:nvPr/>
        </p:nvPicPr>
        <p:blipFill>
          <a:blip r:embed="rId4" cstate="print"/>
          <a:srcRect l="976" t="2132"/>
          <a:stretch>
            <a:fillRect/>
          </a:stretch>
        </p:blipFill>
        <p:spPr bwMode="auto">
          <a:xfrm>
            <a:off x="3631444" y="2969523"/>
            <a:ext cx="147739" cy="7633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</p:pic>
      <p:pic>
        <p:nvPicPr>
          <p:cNvPr id="61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288048" y="3819406"/>
            <a:ext cx="142339" cy="95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2" name="Picture 48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501492" y="3819625"/>
            <a:ext cx="85373" cy="9980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</p:pic>
      <p:pic>
        <p:nvPicPr>
          <p:cNvPr id="63" name="Picture 351"/>
          <p:cNvPicPr>
            <a:picLocks noChangeAspect="1" noChangeArrowheads="1"/>
          </p:cNvPicPr>
          <p:nvPr/>
        </p:nvPicPr>
        <p:blipFill>
          <a:blip r:embed="rId4" cstate="print"/>
          <a:srcRect l="976" t="2132"/>
          <a:stretch>
            <a:fillRect/>
          </a:stretch>
        </p:blipFill>
        <p:spPr bwMode="auto">
          <a:xfrm>
            <a:off x="3643604" y="3827575"/>
            <a:ext cx="146017" cy="7633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</p:pic>
      <p:pic>
        <p:nvPicPr>
          <p:cNvPr id="82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275856" y="1224070"/>
            <a:ext cx="144017" cy="95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83" name="Picture 48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477508" y="1224289"/>
            <a:ext cx="86380" cy="9980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</p:pic>
      <p:pic>
        <p:nvPicPr>
          <p:cNvPr id="84" name="Picture 351"/>
          <p:cNvPicPr>
            <a:picLocks noChangeAspect="1" noChangeArrowheads="1"/>
          </p:cNvPicPr>
          <p:nvPr/>
        </p:nvPicPr>
        <p:blipFill>
          <a:blip r:embed="rId4" cstate="print"/>
          <a:srcRect l="976" t="2132"/>
          <a:stretch>
            <a:fillRect/>
          </a:stretch>
        </p:blipFill>
        <p:spPr bwMode="auto">
          <a:xfrm>
            <a:off x="3632172" y="1232356"/>
            <a:ext cx="147739" cy="7633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</p:pic>
      <p:pic>
        <p:nvPicPr>
          <p:cNvPr id="93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640730" y="4167290"/>
            <a:ext cx="219660" cy="276668"/>
          </a:xfrm>
          <a:prstGeom prst="rect">
            <a:avLst/>
          </a:prstGeom>
          <a:noFill/>
        </p:spPr>
      </p:pic>
      <p:sp>
        <p:nvSpPr>
          <p:cNvPr id="94" name="Textplatzhalter 4"/>
          <p:cNvSpPr txBox="1">
            <a:spLocks/>
          </p:cNvSpPr>
          <p:nvPr/>
        </p:nvSpPr>
        <p:spPr bwMode="gray">
          <a:xfrm>
            <a:off x="6156000" y="1634400"/>
            <a:ext cx="2952453" cy="2908047"/>
          </a:xfrm>
          <a:prstGeom prst="rect">
            <a:avLst/>
          </a:prstGeom>
        </p:spPr>
        <p:txBody>
          <a:bodyPr vert="horz" lIns="90000" tIns="82800" rIns="90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200"/>
              </a:spcAft>
              <a:buClr>
                <a:schemeClr val="accent2"/>
              </a:buClr>
              <a:buFont typeface="Wingdings" pitchFamily="2" charset="2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200"/>
              </a:spcAft>
              <a:buClr>
                <a:schemeClr val="accent3"/>
              </a:buClr>
              <a:buFont typeface="Wingdings" pitchFamily="2" charset="2"/>
              <a:buChar char="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4375" indent="-174625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200"/>
              </a:spcAft>
              <a:buClr>
                <a:schemeClr val="tx2"/>
              </a:buClr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96938" indent="-182563" algn="l" defTabSz="896938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2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9500" indent="-182563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200"/>
              </a:spcAft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4625" indent="-174625">
              <a:spcBef>
                <a:spcPts val="0"/>
              </a:spcBef>
            </a:pPr>
            <a:r>
              <a:rPr lang="en-US" sz="1000" dirty="0" smtClean="0"/>
              <a:t>Target customer and applications</a:t>
            </a:r>
          </a:p>
          <a:p>
            <a:pPr marL="174625" indent="-174625" fontAlgn="ctr">
              <a:spcBef>
                <a:spcPts val="0"/>
              </a:spcBef>
              <a:buFont typeface="Wingdings" pitchFamily="2" charset="2"/>
              <a:buChar char="n"/>
            </a:pPr>
            <a:r>
              <a:rPr lang="en-US" sz="800" b="0" dirty="0" smtClean="0"/>
              <a:t>Large Accounts, public sector and SME</a:t>
            </a:r>
          </a:p>
          <a:p>
            <a:pPr marL="174625" indent="-174625" fontAlgn="ctr">
              <a:spcBef>
                <a:spcPts val="0"/>
              </a:spcBef>
              <a:buFont typeface="Wingdings" pitchFamily="2" charset="2"/>
              <a:buChar char="n"/>
            </a:pPr>
            <a:r>
              <a:rPr lang="en-US" sz="800" b="0" dirty="0"/>
              <a:t>Long life-cycle </a:t>
            </a:r>
            <a:r>
              <a:rPr lang="en-US" sz="800" b="0" dirty="0" smtClean="0"/>
              <a:t>requests (24 months +)</a:t>
            </a:r>
          </a:p>
          <a:p>
            <a:pPr marL="174625" indent="-174625" fontAlgn="ctr">
              <a:spcBef>
                <a:spcPts val="0"/>
              </a:spcBef>
              <a:buFont typeface="Wingdings" pitchFamily="2" charset="2"/>
              <a:buChar char="n"/>
            </a:pPr>
            <a:r>
              <a:rPr lang="en-US" sz="800" b="0" dirty="0"/>
              <a:t>Permanent office </a:t>
            </a:r>
            <a:r>
              <a:rPr lang="en-US" sz="800" b="0" dirty="0" smtClean="0"/>
              <a:t>use</a:t>
            </a:r>
          </a:p>
          <a:p>
            <a:pPr marL="174625" indent="-174625" fontAlgn="ctr">
              <a:spcBef>
                <a:spcPts val="0"/>
              </a:spcBef>
              <a:buFont typeface="Wingdings" pitchFamily="2" charset="2"/>
              <a:buChar char="n"/>
            </a:pPr>
            <a:r>
              <a:rPr lang="en-US" sz="800" b="0" dirty="0" smtClean="0"/>
              <a:t>24/7 workplaces</a:t>
            </a:r>
          </a:p>
          <a:p>
            <a:pPr marL="174625" indent="-174625" fontAlgn="ctr">
              <a:spcBef>
                <a:spcPts val="0"/>
              </a:spcBef>
            </a:pPr>
            <a:endParaRPr lang="en-US" sz="1000" b="0" dirty="0" smtClean="0"/>
          </a:p>
          <a:p>
            <a:pPr marL="174625" indent="-174625">
              <a:spcBef>
                <a:spcPts val="0"/>
              </a:spcBef>
            </a:pPr>
            <a:r>
              <a:rPr lang="en-US" sz="1000" dirty="0" smtClean="0"/>
              <a:t>Benefits</a:t>
            </a:r>
          </a:p>
          <a:p>
            <a:pPr marL="174625" indent="-174625" fontAlgn="ctr">
              <a:spcBef>
                <a:spcPts val="0"/>
              </a:spcBef>
              <a:buFont typeface="Wingdings" pitchFamily="2" charset="2"/>
              <a:buChar char="n"/>
            </a:pPr>
            <a:r>
              <a:rPr lang="en-US" sz="800" b="0" dirty="0" smtClean="0"/>
              <a:t>Steady highest level visual ergonomics</a:t>
            </a:r>
            <a:endParaRPr lang="en-US" sz="800" dirty="0" smtClean="0"/>
          </a:p>
          <a:p>
            <a:pPr marL="174625" indent="-174625" fontAlgn="ctr">
              <a:spcBef>
                <a:spcPts val="0"/>
              </a:spcBef>
              <a:buFont typeface="Wingdings" pitchFamily="2" charset="2"/>
              <a:buChar char="n"/>
            </a:pPr>
            <a:r>
              <a:rPr lang="en-US" sz="800" b="0" dirty="0" smtClean="0"/>
              <a:t>Outstanding ergonomic convenience</a:t>
            </a:r>
          </a:p>
          <a:p>
            <a:pPr marL="174625" indent="-174625" fontAlgn="ctr">
              <a:spcBef>
                <a:spcPts val="0"/>
              </a:spcBef>
              <a:buFont typeface="Wingdings" pitchFamily="2" charset="2"/>
              <a:buChar char="n"/>
            </a:pPr>
            <a:r>
              <a:rPr lang="en-US" sz="800" b="0" dirty="0" smtClean="0"/>
              <a:t>Ageless plain design</a:t>
            </a:r>
          </a:p>
          <a:p>
            <a:pPr marL="174625" indent="-174625" fontAlgn="ctr">
              <a:spcBef>
                <a:spcPts val="0"/>
              </a:spcBef>
              <a:buFont typeface="Wingdings" pitchFamily="2" charset="2"/>
              <a:buChar char="n"/>
            </a:pPr>
            <a:r>
              <a:rPr lang="en-US" sz="800" b="0" dirty="0" smtClean="0"/>
              <a:t>Flexible connectivity</a:t>
            </a:r>
          </a:p>
          <a:p>
            <a:pPr marL="174625" indent="-174625" fontAlgn="ctr">
              <a:spcBef>
                <a:spcPts val="0"/>
              </a:spcBef>
              <a:buFont typeface="Wingdings" pitchFamily="2" charset="2"/>
              <a:buChar char="n"/>
            </a:pPr>
            <a:r>
              <a:rPr lang="en-US" sz="800" b="0" dirty="0" smtClean="0"/>
              <a:t>Extremely energy-efficient</a:t>
            </a:r>
          </a:p>
          <a:p>
            <a:pPr marL="174625" indent="-174625" fontAlgn="ctr">
              <a:spcBef>
                <a:spcPts val="0"/>
              </a:spcBef>
              <a:buFont typeface="Wingdings" pitchFamily="2" charset="2"/>
              <a:buChar char="n"/>
            </a:pPr>
            <a:r>
              <a:rPr lang="en-US" sz="800" b="0" dirty="0" smtClean="0"/>
              <a:t>Proved to 24/7 use</a:t>
            </a:r>
          </a:p>
          <a:p>
            <a:pPr marL="174625" indent="-174625" fontAlgn="ctr">
              <a:spcBef>
                <a:spcPts val="0"/>
              </a:spcBef>
              <a:buFont typeface="Wingdings" pitchFamily="2" charset="2"/>
              <a:buChar char="n"/>
            </a:pPr>
            <a:r>
              <a:rPr lang="en-US" sz="800" b="0" dirty="0" smtClean="0"/>
              <a:t>Remote administration support</a:t>
            </a:r>
            <a:endParaRPr lang="en-US" sz="800" dirty="0" smtClean="0"/>
          </a:p>
        </p:txBody>
      </p:sp>
      <p:pic>
        <p:nvPicPr>
          <p:cNvPr id="95" name="Picture 48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607273" y="3327700"/>
            <a:ext cx="244598" cy="2700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</p:pic>
      <p:pic>
        <p:nvPicPr>
          <p:cNvPr id="96" name="Picture 351"/>
          <p:cNvPicPr>
            <a:picLocks noChangeAspect="1" noChangeArrowheads="1"/>
          </p:cNvPicPr>
          <p:nvPr/>
        </p:nvPicPr>
        <p:blipFill>
          <a:blip r:embed="rId7" cstate="print"/>
          <a:srcRect l="976" t="2132"/>
          <a:stretch>
            <a:fillRect/>
          </a:stretch>
        </p:blipFill>
        <p:spPr bwMode="auto">
          <a:xfrm>
            <a:off x="8503865" y="3939902"/>
            <a:ext cx="400965" cy="17198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</p:pic>
      <p:pic>
        <p:nvPicPr>
          <p:cNvPr id="97" name="Picture 2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505006" y="3658024"/>
            <a:ext cx="432048" cy="2589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9" name="Rectangle 174"/>
          <p:cNvSpPr>
            <a:spLocks noChangeArrowheads="1"/>
          </p:cNvSpPr>
          <p:nvPr/>
        </p:nvSpPr>
        <p:spPr bwMode="auto">
          <a:xfrm>
            <a:off x="614499" y="1406315"/>
            <a:ext cx="5171976" cy="228459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wrap="square" lIns="54000" tIns="46800" rIns="90000" bIns="46800" anchor="ctr" anchorCtr="0"/>
          <a:lstStyle/>
          <a:p>
            <a:pPr algn="l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b="1" kern="0" dirty="0" smtClean="0">
                <a:latin typeface="Arial"/>
                <a:cs typeface="Arial"/>
              </a:rPr>
              <a:t>B24</a:t>
            </a:r>
            <a:r>
              <a:rPr kumimoji="0" lang="en-US" sz="700" b="1" kern="0" dirty="0" smtClean="0">
                <a:latin typeface="Arial"/>
                <a:cs typeface="Arial"/>
              </a:rPr>
              <a:t>W-7 LED</a:t>
            </a:r>
            <a:r>
              <a:rPr kumimoji="0" lang="en-US" sz="600" b="1" kern="0" dirty="0" smtClean="0">
                <a:latin typeface="Arial"/>
                <a:cs typeface="Arial"/>
              </a:rPr>
              <a:t>, </a:t>
            </a:r>
            <a:r>
              <a:rPr lang="en-US" sz="600" kern="0" dirty="0" smtClean="0">
                <a:latin typeface="Arial"/>
                <a:cs typeface="Arial"/>
              </a:rPr>
              <a:t>IPS</a:t>
            </a:r>
            <a:r>
              <a:rPr kumimoji="0" lang="en-US" sz="600" kern="0" dirty="0" smtClean="0">
                <a:latin typeface="Arial"/>
                <a:cs typeface="Arial"/>
              </a:rPr>
              <a:t>,</a:t>
            </a:r>
            <a:r>
              <a:rPr kumimoji="0" lang="en-US" sz="600" b="1" kern="0" dirty="0" smtClean="0">
                <a:latin typeface="Arial"/>
                <a:cs typeface="Arial"/>
              </a:rPr>
              <a:t> </a:t>
            </a:r>
            <a:r>
              <a:rPr kumimoji="0" lang="en-US" sz="600" kern="0" dirty="0" smtClean="0">
                <a:latin typeface="Arial"/>
                <a:cs typeface="Arial"/>
              </a:rPr>
              <a:t>LED, marble grey</a:t>
            </a:r>
          </a:p>
          <a:p>
            <a:pPr algn="l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sz="600" kern="0" dirty="0" smtClean="0">
                <a:latin typeface="Arial"/>
                <a:cs typeface="Arial"/>
              </a:rPr>
              <a:t>24”, 16:10 format, 1920x1200px, USB,DP,</a:t>
            </a:r>
            <a:r>
              <a:rPr kumimoji="0" lang="en-US" sz="600" kern="0" dirty="0" smtClean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kumimoji="0" lang="en-US" sz="600" kern="0" dirty="0" smtClean="0">
                <a:latin typeface="Arial"/>
                <a:cs typeface="Arial"/>
              </a:rPr>
              <a:t>DVI,VGA</a:t>
            </a:r>
          </a:p>
        </p:txBody>
      </p:sp>
      <p:pic>
        <p:nvPicPr>
          <p:cNvPr id="75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275856" y="1492098"/>
            <a:ext cx="144017" cy="95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76" name="Picture 48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477508" y="1492317"/>
            <a:ext cx="86380" cy="9980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</p:pic>
      <p:pic>
        <p:nvPicPr>
          <p:cNvPr id="77" name="Picture 351"/>
          <p:cNvPicPr>
            <a:picLocks noChangeAspect="1" noChangeArrowheads="1"/>
          </p:cNvPicPr>
          <p:nvPr/>
        </p:nvPicPr>
        <p:blipFill>
          <a:blip r:embed="rId4" cstate="print"/>
          <a:srcRect l="976" t="2132"/>
          <a:stretch>
            <a:fillRect/>
          </a:stretch>
        </p:blipFill>
        <p:spPr bwMode="auto">
          <a:xfrm>
            <a:off x="3632172" y="1500384"/>
            <a:ext cx="147739" cy="7633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</p:pic>
      <p:sp>
        <p:nvSpPr>
          <p:cNvPr id="39" name="Rectangle 174"/>
          <p:cNvSpPr>
            <a:spLocks noChangeArrowheads="1"/>
          </p:cNvSpPr>
          <p:nvPr/>
        </p:nvSpPr>
        <p:spPr bwMode="auto">
          <a:xfrm>
            <a:off x="620594" y="2620981"/>
            <a:ext cx="3879398" cy="228459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tx2"/>
            </a:solidFill>
            <a:prstDash val="solid"/>
            <a:headEnd type="none" w="med" len="med"/>
            <a:tailEnd type="none" w="med" len="med"/>
          </a:ln>
          <a:effectLst/>
        </p:spPr>
        <p:txBody>
          <a:bodyPr wrap="square" lIns="54000" tIns="46800" rIns="90000" bIns="46800" anchor="ctr" anchorCtr="0"/>
          <a:lstStyle/>
          <a:p>
            <a:pPr algn="l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b="1" kern="0" dirty="0" smtClean="0">
                <a:latin typeface="Arial"/>
                <a:cs typeface="Arial"/>
              </a:rPr>
              <a:t>B23T</a:t>
            </a:r>
            <a:r>
              <a:rPr kumimoji="0" lang="en-US" sz="700" b="1" kern="0" dirty="0" smtClean="0">
                <a:latin typeface="Arial"/>
                <a:cs typeface="Arial"/>
              </a:rPr>
              <a:t>-7 LED</a:t>
            </a:r>
            <a:r>
              <a:rPr kumimoji="0" lang="en-US" sz="600" b="1" kern="0" dirty="0" smtClean="0">
                <a:latin typeface="Arial"/>
                <a:cs typeface="Arial"/>
              </a:rPr>
              <a:t>, </a:t>
            </a:r>
            <a:r>
              <a:rPr lang="en-US" sz="600" kern="0" dirty="0" smtClean="0">
                <a:latin typeface="Arial"/>
                <a:cs typeface="Arial"/>
              </a:rPr>
              <a:t>IPS</a:t>
            </a:r>
            <a:r>
              <a:rPr kumimoji="0" lang="en-US" sz="600" kern="0" dirty="0" smtClean="0">
                <a:latin typeface="Arial"/>
                <a:cs typeface="Arial"/>
              </a:rPr>
              <a:t>,</a:t>
            </a:r>
            <a:r>
              <a:rPr kumimoji="0" lang="en-US" sz="600" b="1" kern="0" dirty="0" smtClean="0">
                <a:latin typeface="Arial"/>
                <a:cs typeface="Arial"/>
              </a:rPr>
              <a:t> </a:t>
            </a:r>
            <a:r>
              <a:rPr kumimoji="0" lang="en-US" sz="600" kern="0" dirty="0" smtClean="0">
                <a:latin typeface="Arial"/>
                <a:cs typeface="Arial"/>
              </a:rPr>
              <a:t>marble grey  </a:t>
            </a:r>
            <a:br>
              <a:rPr kumimoji="0" lang="en-US" sz="600" kern="0" dirty="0" smtClean="0">
                <a:latin typeface="Arial"/>
                <a:cs typeface="Arial"/>
              </a:rPr>
            </a:br>
            <a:r>
              <a:rPr kumimoji="0" lang="en-US" sz="600" kern="0" dirty="0" smtClean="0">
                <a:latin typeface="Arial"/>
                <a:cs typeface="Arial"/>
              </a:rPr>
              <a:t>23”, FHD, 1920x1080px, USB,DP, DVI,VGA</a:t>
            </a:r>
          </a:p>
        </p:txBody>
      </p:sp>
      <p:pic>
        <p:nvPicPr>
          <p:cNvPr id="8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278339" y="3538198"/>
            <a:ext cx="142339" cy="95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87" name="Picture 48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491783" y="3538417"/>
            <a:ext cx="85373" cy="9980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</p:pic>
      <p:pic>
        <p:nvPicPr>
          <p:cNvPr id="88" name="Picture 351"/>
          <p:cNvPicPr>
            <a:picLocks noChangeAspect="1" noChangeArrowheads="1"/>
          </p:cNvPicPr>
          <p:nvPr/>
        </p:nvPicPr>
        <p:blipFill>
          <a:blip r:embed="rId4" cstate="print"/>
          <a:srcRect l="976" t="2132"/>
          <a:stretch>
            <a:fillRect/>
          </a:stretch>
        </p:blipFill>
        <p:spPr bwMode="auto">
          <a:xfrm>
            <a:off x="3633895" y="3546367"/>
            <a:ext cx="146017" cy="7633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</p:pic>
      <p:pic>
        <p:nvPicPr>
          <p:cNvPr id="89" name="Picture 2" descr="C:\Users\ABGDINTRONOB\AppData\Local\Microsoft\Windows\Temporary Internet Files\Content.Outlook\4X2HC0VT\erde.gif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3812223" y="2965058"/>
            <a:ext cx="108000" cy="108000"/>
          </a:xfrm>
          <a:prstGeom prst="rect">
            <a:avLst/>
          </a:prstGeom>
          <a:noFill/>
        </p:spPr>
      </p:pic>
      <p:pic>
        <p:nvPicPr>
          <p:cNvPr id="90" name="Picture 2" descr="C:\Users\ABGDINTRONOB\AppData\Local\Microsoft\Windows\Temporary Internet Files\Content.Outlook\4X2HC0VT\erde.gif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3799451" y="1484806"/>
            <a:ext cx="108000" cy="108000"/>
          </a:xfrm>
          <a:prstGeom prst="rect">
            <a:avLst/>
          </a:prstGeom>
          <a:noFill/>
        </p:spPr>
      </p:pic>
      <p:pic>
        <p:nvPicPr>
          <p:cNvPr id="32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262208" y="2699550"/>
            <a:ext cx="142339" cy="95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3" name="Picture 48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475652" y="2699769"/>
            <a:ext cx="85373" cy="9980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</p:pic>
      <p:pic>
        <p:nvPicPr>
          <p:cNvPr id="34" name="Picture 351"/>
          <p:cNvPicPr>
            <a:picLocks noChangeAspect="1" noChangeArrowheads="1"/>
          </p:cNvPicPr>
          <p:nvPr/>
        </p:nvPicPr>
        <p:blipFill>
          <a:blip r:embed="rId4" cstate="print"/>
          <a:srcRect l="976" t="2132"/>
          <a:stretch>
            <a:fillRect/>
          </a:stretch>
        </p:blipFill>
        <p:spPr bwMode="auto">
          <a:xfrm>
            <a:off x="3617764" y="2707719"/>
            <a:ext cx="146017" cy="7633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</p:pic>
      <p:sp>
        <p:nvSpPr>
          <p:cNvPr id="98" name="Rectangle 174"/>
          <p:cNvSpPr>
            <a:spLocks noChangeArrowheads="1"/>
          </p:cNvSpPr>
          <p:nvPr/>
        </p:nvSpPr>
        <p:spPr bwMode="auto">
          <a:xfrm>
            <a:off x="1153880" y="1666126"/>
            <a:ext cx="4632593" cy="23040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tx2"/>
            </a:solidFill>
            <a:prstDash val="solid"/>
            <a:headEnd type="none" w="med" len="med"/>
            <a:tailEnd type="none" w="med" len="med"/>
          </a:ln>
          <a:effectLst/>
        </p:spPr>
        <p:txBody>
          <a:bodyPr wrap="square" lIns="54000" tIns="46800" rIns="90000" bIns="46800" anchor="ctr" anchorCtr="0"/>
          <a:lstStyle/>
          <a:p>
            <a:pPr>
              <a:defRPr/>
            </a:pPr>
            <a:r>
              <a:rPr lang="en-US" sz="700" b="1" kern="0" dirty="0" smtClean="0">
                <a:cs typeface="Arial"/>
              </a:rPr>
              <a:t>B24-8 TE PRO, </a:t>
            </a:r>
            <a:r>
              <a:rPr lang="en-US" sz="600" kern="0" dirty="0" smtClean="0">
                <a:cs typeface="Arial"/>
              </a:rPr>
              <a:t>IPS,</a:t>
            </a:r>
            <a:r>
              <a:rPr lang="en-US" sz="600" b="1" kern="0" dirty="0" smtClean="0">
                <a:cs typeface="Arial"/>
              </a:rPr>
              <a:t> </a:t>
            </a:r>
            <a:r>
              <a:rPr lang="en-US" sz="600" kern="0" dirty="0">
                <a:cs typeface="Arial"/>
              </a:rPr>
              <a:t>LED, marble </a:t>
            </a:r>
            <a:r>
              <a:rPr lang="en-US" sz="600" kern="0" dirty="0" smtClean="0">
                <a:cs typeface="Arial"/>
              </a:rPr>
              <a:t>grey</a:t>
            </a:r>
          </a:p>
          <a:p>
            <a:pPr>
              <a:defRPr/>
            </a:pPr>
            <a:r>
              <a:rPr lang="en-US" sz="600" kern="0" dirty="0" smtClean="0">
                <a:cs typeface="Arial"/>
              </a:rPr>
              <a:t>23.8”, FHD, 1920x1080px, USB,DP,DVI,VGA</a:t>
            </a:r>
            <a:endParaRPr lang="en-US" sz="600" kern="0" dirty="0">
              <a:cs typeface="Arial"/>
            </a:endParaRPr>
          </a:p>
        </p:txBody>
      </p:sp>
      <p:sp>
        <p:nvSpPr>
          <p:cNvPr id="102" name="Rectangle 174"/>
          <p:cNvSpPr>
            <a:spLocks noChangeArrowheads="1"/>
          </p:cNvSpPr>
          <p:nvPr/>
        </p:nvSpPr>
        <p:spPr bwMode="auto">
          <a:xfrm>
            <a:off x="971600" y="3146401"/>
            <a:ext cx="4814874" cy="23040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tx2"/>
            </a:solidFill>
            <a:prstDash val="solid"/>
            <a:headEnd type="none" w="med" len="med"/>
            <a:tailEnd type="none" w="med" len="med"/>
          </a:ln>
          <a:effectLst/>
        </p:spPr>
        <p:txBody>
          <a:bodyPr wrap="square" lIns="54000" tIns="46800" rIns="90000" bIns="46800" anchor="ctr" anchorCtr="0"/>
          <a:lstStyle/>
          <a:p>
            <a:pPr lvl="0">
              <a:defRPr/>
            </a:pPr>
            <a:r>
              <a:rPr lang="en-US" sz="700" b="1" kern="0" dirty="0" smtClean="0">
                <a:cs typeface="Arial"/>
              </a:rPr>
              <a:t>B22T-7 PRO</a:t>
            </a:r>
            <a:r>
              <a:rPr lang="en-US" sz="600" b="1" kern="0" dirty="0" smtClean="0">
                <a:cs typeface="Arial"/>
              </a:rPr>
              <a:t>,</a:t>
            </a:r>
            <a:r>
              <a:rPr lang="en-US" sz="600" kern="0" dirty="0" smtClean="0">
                <a:cs typeface="Arial"/>
              </a:rPr>
              <a:t> IPS</a:t>
            </a:r>
            <a:r>
              <a:rPr lang="en-US" sz="700" kern="0" dirty="0" smtClean="0">
                <a:cs typeface="Arial"/>
              </a:rPr>
              <a:t>,</a:t>
            </a:r>
            <a:r>
              <a:rPr lang="en-US" sz="600" kern="0" dirty="0" smtClean="0">
                <a:cs typeface="Arial"/>
              </a:rPr>
              <a:t> black</a:t>
            </a:r>
            <a:r>
              <a:rPr lang="en-US" sz="600" kern="0" dirty="0">
                <a:cs typeface="Arial"/>
              </a:rPr>
              <a:t>, </a:t>
            </a:r>
            <a:r>
              <a:rPr lang="en-US" sz="600" kern="0" dirty="0" smtClean="0">
                <a:cs typeface="Arial"/>
              </a:rPr>
              <a:t/>
            </a:r>
            <a:br>
              <a:rPr lang="en-US" sz="600" kern="0" dirty="0" smtClean="0">
                <a:cs typeface="Arial"/>
              </a:rPr>
            </a:br>
            <a:r>
              <a:rPr lang="en-US" sz="600" kern="0" dirty="0" smtClean="0">
                <a:cs typeface="Arial"/>
              </a:rPr>
              <a:t>21.5</a:t>
            </a:r>
            <a:r>
              <a:rPr lang="en-US" sz="600" kern="0" dirty="0">
                <a:cs typeface="Arial"/>
              </a:rPr>
              <a:t>”, </a:t>
            </a:r>
            <a:r>
              <a:rPr lang="en-US" sz="600" kern="0" dirty="0" smtClean="0">
                <a:cs typeface="Arial"/>
              </a:rPr>
              <a:t>FHD</a:t>
            </a:r>
            <a:r>
              <a:rPr lang="en-US" sz="600" kern="0" dirty="0">
                <a:cs typeface="Arial"/>
              </a:rPr>
              <a:t>, 1920x1080px</a:t>
            </a:r>
            <a:r>
              <a:rPr lang="en-US" sz="600" kern="0" dirty="0" smtClean="0">
                <a:cs typeface="Arial"/>
              </a:rPr>
              <a:t>, USB, </a:t>
            </a:r>
            <a:r>
              <a:rPr lang="en-US" sz="600" kern="0" dirty="0">
                <a:cs typeface="Arial"/>
              </a:rPr>
              <a:t>HDMI, DVI, VGA</a:t>
            </a:r>
          </a:p>
        </p:txBody>
      </p:sp>
      <p:sp>
        <p:nvSpPr>
          <p:cNvPr id="70" name="Rectangle 174"/>
          <p:cNvSpPr>
            <a:spLocks noChangeArrowheads="1"/>
          </p:cNvSpPr>
          <p:nvPr/>
        </p:nvSpPr>
        <p:spPr bwMode="auto">
          <a:xfrm>
            <a:off x="620603" y="3490544"/>
            <a:ext cx="5165871" cy="23040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tx2"/>
            </a:solidFill>
            <a:prstDash val="solid"/>
            <a:headEnd type="none" w="med" len="med"/>
            <a:tailEnd type="none" w="med" len="med"/>
          </a:ln>
          <a:effectLst/>
        </p:spPr>
        <p:txBody>
          <a:bodyPr wrap="square" lIns="54000" tIns="46800" rIns="90000" bIns="46800" anchor="ctr" anchorCtr="0"/>
          <a:lstStyle/>
          <a:p>
            <a:pPr>
              <a:defRPr/>
            </a:pPr>
            <a:r>
              <a:rPr lang="en-US" sz="700" b="1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B20T-7 LED </a:t>
            </a:r>
            <a:r>
              <a:rPr lang="en-US" sz="700" b="1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roGREEN</a:t>
            </a:r>
            <a:r>
              <a:rPr lang="en-US" sz="7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en-US" sz="600" kern="0" dirty="0" smtClean="0">
                <a:cs typeface="Arial"/>
              </a:rPr>
              <a:t> </a:t>
            </a:r>
            <a:r>
              <a:rPr lang="en-US" sz="600" kern="0" dirty="0">
                <a:cs typeface="Arial"/>
              </a:rPr>
              <a:t>black</a:t>
            </a:r>
          </a:p>
          <a:p>
            <a:pPr>
              <a:defRPr/>
            </a:pPr>
            <a:r>
              <a:rPr lang="en-US" sz="600" kern="0" dirty="0" smtClean="0">
                <a:cs typeface="Arial"/>
              </a:rPr>
              <a:t>19.5”, 1600x900px</a:t>
            </a:r>
            <a:r>
              <a:rPr lang="en-US" sz="600" kern="0" dirty="0">
                <a:cs typeface="Arial"/>
              </a:rPr>
              <a:t>, DVI, VGA</a:t>
            </a:r>
          </a:p>
        </p:txBody>
      </p:sp>
      <p:pic>
        <p:nvPicPr>
          <p:cNvPr id="71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303974" y="3565494"/>
            <a:ext cx="142339" cy="95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72" name="Picture 48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490122" y="3565713"/>
            <a:ext cx="85373" cy="9980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</p:pic>
      <p:sp>
        <p:nvSpPr>
          <p:cNvPr id="79" name="Rectangle 174"/>
          <p:cNvSpPr>
            <a:spLocks noChangeArrowheads="1"/>
          </p:cNvSpPr>
          <p:nvPr/>
        </p:nvSpPr>
        <p:spPr bwMode="auto">
          <a:xfrm>
            <a:off x="617656" y="2365925"/>
            <a:ext cx="1974889" cy="23040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tx2"/>
            </a:solidFill>
            <a:prstDash val="solid"/>
            <a:headEnd type="none" w="med" len="med"/>
            <a:tailEnd type="none" w="med" len="med"/>
          </a:ln>
          <a:effectLst/>
        </p:spPr>
        <p:txBody>
          <a:bodyPr wrap="square" lIns="54000" tIns="46800" rIns="90000" bIns="46800" anchor="ctr" anchorCtr="0"/>
          <a:lstStyle/>
          <a:p>
            <a:pPr>
              <a:defRPr/>
            </a:pPr>
            <a:r>
              <a:rPr lang="en-US" sz="700" b="1" kern="0" dirty="0" smtClean="0">
                <a:cs typeface="Arial"/>
              </a:rPr>
              <a:t>B24T-1L LED,</a:t>
            </a:r>
            <a:r>
              <a:rPr lang="en-US" sz="600" kern="0" dirty="0" smtClean="0">
                <a:cs typeface="Arial"/>
              </a:rPr>
              <a:t> black</a:t>
            </a:r>
            <a:br>
              <a:rPr lang="en-US" sz="600" kern="0" dirty="0" smtClean="0">
                <a:cs typeface="Arial"/>
              </a:rPr>
            </a:br>
            <a:r>
              <a:rPr lang="en-US" sz="600" kern="0" dirty="0" smtClean="0">
                <a:cs typeface="Arial"/>
              </a:rPr>
              <a:t>24”, FHD</a:t>
            </a:r>
            <a:r>
              <a:rPr lang="en-US" sz="600" kern="0" dirty="0">
                <a:cs typeface="Arial"/>
              </a:rPr>
              <a:t>, 1920x1080px, HDMI,DVI,VGA, </a:t>
            </a:r>
          </a:p>
        </p:txBody>
      </p:sp>
      <p:sp>
        <p:nvSpPr>
          <p:cNvPr id="99" name="Rectangle 174"/>
          <p:cNvSpPr>
            <a:spLocks noChangeArrowheads="1"/>
          </p:cNvSpPr>
          <p:nvPr/>
        </p:nvSpPr>
        <p:spPr bwMode="auto">
          <a:xfrm>
            <a:off x="1153879" y="2017933"/>
            <a:ext cx="4632595" cy="23040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tx2"/>
            </a:solidFill>
            <a:prstDash val="solid"/>
            <a:headEnd type="none" w="med" len="med"/>
            <a:tailEnd type="none" w="med" len="med"/>
          </a:ln>
          <a:effectLst/>
        </p:spPr>
        <p:txBody>
          <a:bodyPr wrap="square" lIns="54000" tIns="46800" rIns="90000" bIns="46800" anchor="ctr" anchorCtr="0"/>
          <a:lstStyle/>
          <a:p>
            <a:pPr>
              <a:defRPr/>
            </a:pPr>
            <a:r>
              <a:rPr lang="en-US" sz="700" b="1" kern="0" dirty="0" smtClean="0">
                <a:cs typeface="Arial"/>
              </a:rPr>
              <a:t>B24-8 TS PRO</a:t>
            </a:r>
            <a:r>
              <a:rPr lang="en-US" sz="600" b="1" kern="0" dirty="0" smtClean="0">
                <a:cs typeface="Arial"/>
              </a:rPr>
              <a:t>, </a:t>
            </a:r>
            <a:r>
              <a:rPr lang="en-US" sz="600" kern="0" dirty="0" smtClean="0">
                <a:cs typeface="Arial"/>
              </a:rPr>
              <a:t>IPS,</a:t>
            </a:r>
            <a:r>
              <a:rPr lang="en-US" sz="600" b="1" kern="0" dirty="0" smtClean="0">
                <a:cs typeface="Arial"/>
              </a:rPr>
              <a:t> </a:t>
            </a:r>
            <a:r>
              <a:rPr lang="en-US" sz="600" kern="0" dirty="0">
                <a:cs typeface="Arial"/>
              </a:rPr>
              <a:t>LED, </a:t>
            </a:r>
            <a:r>
              <a:rPr lang="en-US" sz="600" kern="0" dirty="0" smtClean="0">
                <a:cs typeface="Arial"/>
              </a:rPr>
              <a:t>black</a:t>
            </a:r>
            <a:endParaRPr lang="en-US" sz="600" kern="0" dirty="0">
              <a:cs typeface="Arial"/>
            </a:endParaRPr>
          </a:p>
          <a:p>
            <a:pPr>
              <a:defRPr/>
            </a:pPr>
            <a:r>
              <a:rPr lang="en-US" sz="600" kern="0" dirty="0" smtClean="0">
                <a:cs typeface="Arial"/>
              </a:rPr>
              <a:t>23.8”, </a:t>
            </a:r>
            <a:r>
              <a:rPr lang="en-US" sz="600" kern="0" dirty="0">
                <a:cs typeface="Arial"/>
              </a:rPr>
              <a:t>FHD, 1920x1080px, </a:t>
            </a:r>
            <a:r>
              <a:rPr lang="en-US" sz="600" kern="0" dirty="0" smtClean="0">
                <a:cs typeface="Arial"/>
              </a:rPr>
              <a:t>USB,HDMI,DVI,VGA</a:t>
            </a:r>
            <a:r>
              <a:rPr lang="en-US" sz="600" b="1" kern="0" dirty="0" smtClean="0">
                <a:cs typeface="Arial"/>
              </a:rPr>
              <a:t> </a:t>
            </a:r>
            <a:endParaRPr lang="en-US" sz="600" kern="0" dirty="0">
              <a:cs typeface="Arial"/>
            </a:endParaRPr>
          </a:p>
        </p:txBody>
      </p:sp>
      <p:pic>
        <p:nvPicPr>
          <p:cNvPr id="8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269760" y="2423141"/>
            <a:ext cx="144017" cy="95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81" name="Picture 48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471412" y="2423360"/>
            <a:ext cx="86380" cy="9980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</p:pic>
      <p:pic>
        <p:nvPicPr>
          <p:cNvPr id="91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203848" y="3213715"/>
            <a:ext cx="144017" cy="95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92" name="Picture 48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393308" y="3213934"/>
            <a:ext cx="86380" cy="9980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</p:pic>
      <p:pic>
        <p:nvPicPr>
          <p:cNvPr id="103" name="Picture 351"/>
          <p:cNvPicPr>
            <a:picLocks noChangeAspect="1" noChangeArrowheads="1"/>
          </p:cNvPicPr>
          <p:nvPr/>
        </p:nvPicPr>
        <p:blipFill>
          <a:blip r:embed="rId4" cstate="print"/>
          <a:srcRect l="976" t="2132"/>
          <a:stretch>
            <a:fillRect/>
          </a:stretch>
        </p:blipFill>
        <p:spPr bwMode="auto">
          <a:xfrm>
            <a:off x="3527356" y="3222001"/>
            <a:ext cx="147739" cy="7633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</p:pic>
      <p:pic>
        <p:nvPicPr>
          <p:cNvPr id="104" name="Picture 2" descr="C:\Users\ABGDINTRONOB\AppData\Local\Microsoft\Windows\Temporary Internet Files\Content.Outlook\4X2HC0VT\erde.gif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3723303" y="3213472"/>
            <a:ext cx="108000" cy="108000"/>
          </a:xfrm>
          <a:prstGeom prst="rect">
            <a:avLst/>
          </a:prstGeom>
          <a:noFill/>
        </p:spPr>
      </p:pic>
      <p:sp>
        <p:nvSpPr>
          <p:cNvPr id="73" name="Rechteck 72"/>
          <p:cNvSpPr/>
          <p:nvPr/>
        </p:nvSpPr>
        <p:spPr>
          <a:xfrm>
            <a:off x="6025548" y="1158855"/>
            <a:ext cx="83869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B</a:t>
            </a:r>
            <a:r>
              <a:rPr lang="en-US" dirty="0" smtClean="0">
                <a:solidFill>
                  <a:schemeClr val="bg1"/>
                </a:solidFill>
              </a:rPr>
              <a:t> </a:t>
            </a:r>
            <a:r>
              <a:rPr lang="en-US" dirty="0">
                <a:solidFill>
                  <a:schemeClr val="bg1"/>
                </a:solidFill>
              </a:rPr>
              <a:t>Line</a:t>
            </a:r>
          </a:p>
        </p:txBody>
      </p:sp>
      <p:pic>
        <p:nvPicPr>
          <p:cNvPr id="10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275856" y="2077893"/>
            <a:ext cx="144017" cy="95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5" name="Picture 48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477508" y="2078112"/>
            <a:ext cx="86380" cy="9980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</p:pic>
      <p:pic>
        <p:nvPicPr>
          <p:cNvPr id="106" name="Picture 351"/>
          <p:cNvPicPr>
            <a:picLocks noChangeAspect="1" noChangeArrowheads="1"/>
          </p:cNvPicPr>
          <p:nvPr/>
        </p:nvPicPr>
        <p:blipFill>
          <a:blip r:embed="rId4" cstate="print"/>
          <a:srcRect l="976" t="2132"/>
          <a:stretch>
            <a:fillRect/>
          </a:stretch>
        </p:blipFill>
        <p:spPr bwMode="auto">
          <a:xfrm>
            <a:off x="3632172" y="2086179"/>
            <a:ext cx="147739" cy="7633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</p:pic>
      <p:pic>
        <p:nvPicPr>
          <p:cNvPr id="107" name="Picture 2" descr="C:\Users\ABGDINTRONOB\AppData\Local\Microsoft\Windows\Temporary Internet Files\Content.Outlook\4X2HC0VT\erde.gif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3812951" y="2081714"/>
            <a:ext cx="108000" cy="108000"/>
          </a:xfrm>
          <a:prstGeom prst="rect">
            <a:avLst/>
          </a:prstGeom>
          <a:noFill/>
        </p:spPr>
      </p:pic>
      <p:pic>
        <p:nvPicPr>
          <p:cNvPr id="108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275856" y="1725942"/>
            <a:ext cx="144017" cy="95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9" name="Picture 48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477508" y="1726161"/>
            <a:ext cx="86380" cy="9980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</p:pic>
      <p:pic>
        <p:nvPicPr>
          <p:cNvPr id="110" name="Picture 351"/>
          <p:cNvPicPr>
            <a:picLocks noChangeAspect="1" noChangeArrowheads="1"/>
          </p:cNvPicPr>
          <p:nvPr/>
        </p:nvPicPr>
        <p:blipFill>
          <a:blip r:embed="rId4" cstate="print"/>
          <a:srcRect l="976" t="2132"/>
          <a:stretch>
            <a:fillRect/>
          </a:stretch>
        </p:blipFill>
        <p:spPr bwMode="auto">
          <a:xfrm>
            <a:off x="3632172" y="1734228"/>
            <a:ext cx="147739" cy="7633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</p:pic>
      <p:sp>
        <p:nvSpPr>
          <p:cNvPr id="64" name="Rectangle 174"/>
          <p:cNvSpPr>
            <a:spLocks noChangeArrowheads="1"/>
          </p:cNvSpPr>
          <p:nvPr/>
        </p:nvSpPr>
        <p:spPr bwMode="auto">
          <a:xfrm>
            <a:off x="2699792" y="1153095"/>
            <a:ext cx="3086681" cy="23040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tx2"/>
            </a:solidFill>
            <a:prstDash val="solid"/>
            <a:headEnd type="none" w="med" len="med"/>
            <a:tailEnd type="none" w="med" len="med"/>
          </a:ln>
          <a:effectLst/>
        </p:spPr>
        <p:txBody>
          <a:bodyPr wrap="square" lIns="54000" tIns="46800" rIns="90000" bIns="46800" anchor="ctr" anchorCtr="0"/>
          <a:lstStyle/>
          <a:p>
            <a:pPr algn="l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sz="700" b="1" kern="0" smtClean="0">
                <a:latin typeface="Arial"/>
                <a:cs typeface="Arial"/>
              </a:rPr>
              <a:t>B27T-7 </a:t>
            </a:r>
            <a:r>
              <a:rPr lang="en-US" sz="700" b="1" kern="0" smtClean="0">
                <a:latin typeface="Arial"/>
                <a:cs typeface="Arial"/>
              </a:rPr>
              <a:t>Pro</a:t>
            </a:r>
            <a:r>
              <a:rPr kumimoji="0" lang="en-US" sz="700" b="1" kern="0" smtClean="0">
                <a:latin typeface="Arial"/>
                <a:cs typeface="Arial"/>
              </a:rPr>
              <a:t>, </a:t>
            </a:r>
            <a:r>
              <a:rPr kumimoji="0" lang="en-US" sz="600" kern="0" smtClean="0">
                <a:latin typeface="Arial"/>
                <a:cs typeface="Arial"/>
              </a:rPr>
              <a:t>energy optimized, </a:t>
            </a:r>
            <a:r>
              <a:rPr lang="en-US" sz="600" kern="0" smtClean="0">
                <a:latin typeface="Arial"/>
                <a:cs typeface="Arial"/>
              </a:rPr>
              <a:t>250cd/m², IPS, </a:t>
            </a:r>
            <a:r>
              <a:rPr kumimoji="0" lang="en-US" sz="600" kern="0" smtClean="0">
                <a:latin typeface="Arial"/>
                <a:cs typeface="Arial"/>
              </a:rPr>
              <a:t>marble </a:t>
            </a:r>
            <a:r>
              <a:rPr kumimoji="0" lang="en-US" sz="600" kern="0" dirty="0" smtClean="0">
                <a:latin typeface="Arial"/>
                <a:cs typeface="Arial"/>
              </a:rPr>
              <a:t>grey </a:t>
            </a:r>
            <a:br>
              <a:rPr kumimoji="0" lang="en-US" sz="600" kern="0" dirty="0" smtClean="0">
                <a:latin typeface="Arial"/>
                <a:cs typeface="Arial"/>
              </a:rPr>
            </a:br>
            <a:r>
              <a:rPr kumimoji="0" lang="en-US" sz="600" kern="0" dirty="0" smtClean="0">
                <a:latin typeface="Arial"/>
                <a:cs typeface="Arial"/>
              </a:rPr>
              <a:t>27”, FHD, </a:t>
            </a:r>
            <a:r>
              <a:rPr lang="en-US" sz="600" kern="0" dirty="0">
                <a:cs typeface="Arial"/>
              </a:rPr>
              <a:t>1920x1080px, USB, DP, DVI, VGA, </a:t>
            </a:r>
            <a:endParaRPr kumimoji="0" lang="en-US" sz="600" kern="0" dirty="0" smtClean="0">
              <a:latin typeface="Arial"/>
              <a:cs typeface="Arial"/>
            </a:endParaRPr>
          </a:p>
        </p:txBody>
      </p:sp>
      <p:sp>
        <p:nvSpPr>
          <p:cNvPr id="66" name="Rectangle 174"/>
          <p:cNvSpPr>
            <a:spLocks noChangeArrowheads="1"/>
          </p:cNvSpPr>
          <p:nvPr/>
        </p:nvSpPr>
        <p:spPr bwMode="auto">
          <a:xfrm>
            <a:off x="5148064" y="1400572"/>
            <a:ext cx="638409" cy="23040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tx2"/>
            </a:solidFill>
            <a:prstDash val="dash"/>
            <a:headEnd type="none" w="med" len="med"/>
            <a:tailEnd type="none" w="med" len="med"/>
          </a:ln>
          <a:effectLst/>
        </p:spPr>
        <p:txBody>
          <a:bodyPr wrap="square" lIns="54000" tIns="46800" rIns="90000" bIns="46800" anchor="ctr" anchorCtr="0"/>
          <a:lstStyle/>
          <a:p>
            <a:pPr>
              <a:defRPr/>
            </a:pPr>
            <a:r>
              <a:rPr lang="en-US" sz="700" b="1" kern="0" dirty="0" smtClean="0">
                <a:cs typeface="Arial"/>
              </a:rPr>
              <a:t>Successor</a:t>
            </a:r>
            <a:r>
              <a:rPr lang="en-US" sz="600" kern="0" dirty="0" smtClean="0">
                <a:cs typeface="Arial"/>
              </a:rPr>
              <a:t> </a:t>
            </a:r>
            <a:endParaRPr lang="en-US" sz="600" kern="0" dirty="0">
              <a:cs typeface="Arial"/>
            </a:endParaRPr>
          </a:p>
        </p:txBody>
      </p:sp>
      <p:sp>
        <p:nvSpPr>
          <p:cNvPr id="67" name="Rectangle 174"/>
          <p:cNvSpPr>
            <a:spLocks noChangeArrowheads="1"/>
          </p:cNvSpPr>
          <p:nvPr/>
        </p:nvSpPr>
        <p:spPr bwMode="auto">
          <a:xfrm>
            <a:off x="3853451" y="3146138"/>
            <a:ext cx="1936335" cy="23040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tx2"/>
            </a:solidFill>
            <a:prstDash val="solid"/>
            <a:headEnd type="none" w="med" len="med"/>
            <a:tailEnd type="none" w="med" len="med"/>
          </a:ln>
          <a:effectLst/>
        </p:spPr>
        <p:txBody>
          <a:bodyPr wrap="square" lIns="54000" tIns="46800" rIns="90000" bIns="46800" anchor="ctr" anchorCtr="0"/>
          <a:lstStyle/>
          <a:p>
            <a:pPr>
              <a:defRPr/>
            </a:pPr>
            <a:r>
              <a:rPr lang="en-US" sz="700" b="1" kern="0" dirty="0" smtClean="0">
                <a:cs typeface="Arial"/>
              </a:rPr>
              <a:t>B22-8 TS Pro,</a:t>
            </a:r>
            <a:r>
              <a:rPr lang="en-US" sz="600" kern="0" dirty="0" smtClean="0">
                <a:cs typeface="Arial"/>
              </a:rPr>
              <a:t> black</a:t>
            </a:r>
            <a:br>
              <a:rPr lang="en-US" sz="600" kern="0" dirty="0" smtClean="0">
                <a:cs typeface="Arial"/>
              </a:rPr>
            </a:br>
            <a:r>
              <a:rPr lang="en-US" sz="600" kern="0" dirty="0" smtClean="0">
                <a:cs typeface="Arial"/>
              </a:rPr>
              <a:t>21.5”, FHD</a:t>
            </a:r>
            <a:r>
              <a:rPr lang="en-US" sz="600" kern="0" dirty="0">
                <a:cs typeface="Arial"/>
              </a:rPr>
              <a:t>, 1920x1080px</a:t>
            </a:r>
            <a:r>
              <a:rPr lang="en-US" sz="600" kern="0" dirty="0" smtClean="0">
                <a:cs typeface="Arial"/>
              </a:rPr>
              <a:t>, DP,DVI,VGA</a:t>
            </a:r>
            <a:r>
              <a:rPr lang="en-US" sz="600" kern="0" dirty="0">
                <a:cs typeface="Arial"/>
              </a:rPr>
              <a:t>, </a:t>
            </a:r>
          </a:p>
        </p:txBody>
      </p:sp>
    </p:spTree>
    <p:extLst>
      <p:ext uri="{BB962C8B-B14F-4D97-AF65-F5344CB8AC3E}">
        <p14:creationId xmlns:p14="http://schemas.microsoft.com/office/powerpoint/2010/main" val="3880281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duct Overview All-round</a:t>
            </a: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 dirty="0" smtClean="0"/>
              <a:t>E Line</a:t>
            </a:r>
            <a:endParaRPr lang="de-DE" dirty="0"/>
          </a:p>
        </p:txBody>
      </p:sp>
      <p:sp>
        <p:nvSpPr>
          <p:cNvPr id="38" name="Textplatzhalter 8"/>
          <p:cNvSpPr>
            <a:spLocks noGrp="1"/>
          </p:cNvSpPr>
          <p:nvPr>
            <p:ph type="body" sz="quarter" idx="21"/>
          </p:nvPr>
        </p:nvSpPr>
        <p:spPr>
          <a:xfrm>
            <a:off x="3195811" y="4244764"/>
            <a:ext cx="2600325" cy="288032"/>
          </a:xfrm>
        </p:spPr>
        <p:txBody>
          <a:bodyPr/>
          <a:lstStyle/>
          <a:p>
            <a:r>
              <a:rPr lang="de-DE" dirty="0" smtClean="0"/>
              <a:t>2016</a:t>
            </a:r>
            <a:endParaRPr lang="de-DE" dirty="0"/>
          </a:p>
        </p:txBody>
      </p:sp>
      <p:sp>
        <p:nvSpPr>
          <p:cNvPr id="48" name="Text Placeholder 5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pPr algn="ctr"/>
            <a:r>
              <a:rPr lang="en-US" dirty="0" smtClean="0"/>
              <a:t>2016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pPr algn="ctr"/>
            <a:r>
              <a:rPr lang="en-US" dirty="0" smtClean="0"/>
              <a:t>2017</a:t>
            </a:r>
            <a:endParaRPr lang="en-US" dirty="0"/>
          </a:p>
        </p:txBody>
      </p:sp>
      <p:sp>
        <p:nvSpPr>
          <p:cNvPr id="20" name="Textplatzhalter 4"/>
          <p:cNvSpPr txBox="1">
            <a:spLocks/>
          </p:cNvSpPr>
          <p:nvPr/>
        </p:nvSpPr>
        <p:spPr bwMode="gray">
          <a:xfrm>
            <a:off x="6156000" y="1634400"/>
            <a:ext cx="2952453" cy="2857970"/>
          </a:xfrm>
          <a:prstGeom prst="rect">
            <a:avLst/>
          </a:prstGeom>
        </p:spPr>
        <p:txBody>
          <a:bodyPr vert="horz" lIns="90000" tIns="82800" rIns="90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200"/>
              </a:spcAft>
              <a:buClr>
                <a:schemeClr val="accent2"/>
              </a:buClr>
              <a:buFont typeface="Wingdings" pitchFamily="2" charset="2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200"/>
              </a:spcAft>
              <a:buClr>
                <a:schemeClr val="accent3"/>
              </a:buClr>
              <a:buFont typeface="Wingdings" pitchFamily="2" charset="2"/>
              <a:buChar char="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4375" indent="-174625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200"/>
              </a:spcAft>
              <a:buClr>
                <a:schemeClr val="tx2"/>
              </a:buClr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96938" indent="-182563" algn="l" defTabSz="896938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2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9500" indent="-182563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200"/>
              </a:spcAft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4625" indent="-174625">
              <a:spcBef>
                <a:spcPts val="0"/>
              </a:spcBef>
            </a:pPr>
            <a:r>
              <a:rPr lang="en-US" sz="1000" dirty="0" smtClean="0"/>
              <a:t>Target customer and applications</a:t>
            </a:r>
            <a:endParaRPr lang="en-US" sz="800" dirty="0" smtClean="0"/>
          </a:p>
          <a:p>
            <a:pPr marL="174625" indent="-174625" fontAlgn="ctr">
              <a:spcBef>
                <a:spcPts val="0"/>
              </a:spcBef>
              <a:buFont typeface="Wingdings" pitchFamily="2" charset="2"/>
              <a:buChar char="n"/>
            </a:pPr>
            <a:r>
              <a:rPr lang="en-US" sz="800" b="0" dirty="0" smtClean="0"/>
              <a:t>SME, </a:t>
            </a:r>
            <a:r>
              <a:rPr lang="en-US" sz="800" b="0" dirty="0" err="1" smtClean="0"/>
              <a:t>SoHo</a:t>
            </a:r>
            <a:endParaRPr lang="en-US" sz="800" b="0" dirty="0" smtClean="0"/>
          </a:p>
          <a:p>
            <a:pPr marL="174625" indent="-174625" fontAlgn="ctr">
              <a:spcBef>
                <a:spcPts val="0"/>
              </a:spcBef>
              <a:buFont typeface="Wingdings" pitchFamily="2" charset="2"/>
              <a:buChar char="n"/>
            </a:pPr>
            <a:r>
              <a:rPr lang="en-US" sz="800" b="0" dirty="0" smtClean="0"/>
              <a:t>Common office use</a:t>
            </a:r>
          </a:p>
          <a:p>
            <a:pPr marL="174625" indent="-174625" fontAlgn="ctr">
              <a:spcBef>
                <a:spcPts val="0"/>
              </a:spcBef>
              <a:buFont typeface="Wingdings" pitchFamily="2" charset="2"/>
              <a:buChar char="n"/>
            </a:pPr>
            <a:r>
              <a:rPr lang="en-US" sz="800" b="0" dirty="0" smtClean="0"/>
              <a:t>Use with optional mounting parts</a:t>
            </a:r>
          </a:p>
          <a:p>
            <a:pPr marL="174625" indent="-174625">
              <a:spcBef>
                <a:spcPts val="0"/>
              </a:spcBef>
            </a:pPr>
            <a:endParaRPr lang="en-US" sz="900" dirty="0" smtClean="0"/>
          </a:p>
          <a:p>
            <a:pPr marL="174625" indent="-174625">
              <a:spcBef>
                <a:spcPts val="0"/>
              </a:spcBef>
            </a:pPr>
            <a:r>
              <a:rPr lang="en-US" sz="1000" dirty="0" smtClean="0"/>
              <a:t>Benefits</a:t>
            </a:r>
          </a:p>
          <a:p>
            <a:pPr marL="174625" indent="-174625" fontAlgn="ctr">
              <a:spcBef>
                <a:spcPts val="0"/>
              </a:spcBef>
              <a:buFont typeface="Wingdings" pitchFamily="2" charset="2"/>
              <a:buChar char="n"/>
            </a:pPr>
            <a:r>
              <a:rPr lang="en-US" sz="800" b="0" dirty="0" smtClean="0"/>
              <a:t>All-out picture quality</a:t>
            </a:r>
          </a:p>
          <a:p>
            <a:pPr marL="174625" indent="-174625" fontAlgn="ctr">
              <a:spcBef>
                <a:spcPts val="0"/>
              </a:spcBef>
              <a:buFont typeface="Wingdings" pitchFamily="2" charset="2"/>
              <a:buChar char="n"/>
            </a:pPr>
            <a:r>
              <a:rPr lang="en-US" sz="800" b="0" dirty="0" smtClean="0"/>
              <a:t>Ergonomic features suitable TCO</a:t>
            </a:r>
          </a:p>
          <a:p>
            <a:pPr marL="174625" indent="-174625" fontAlgn="ctr">
              <a:spcBef>
                <a:spcPts val="0"/>
              </a:spcBef>
              <a:buFont typeface="Wingdings" pitchFamily="2" charset="2"/>
              <a:buChar char="n"/>
            </a:pPr>
            <a:r>
              <a:rPr lang="en-US" sz="800" b="0" dirty="0" smtClean="0"/>
              <a:t>Multi-connectivity</a:t>
            </a:r>
          </a:p>
          <a:p>
            <a:pPr marL="174625" indent="-174625" fontAlgn="ctr">
              <a:spcBef>
                <a:spcPts val="0"/>
              </a:spcBef>
              <a:buFont typeface="Wingdings" pitchFamily="2" charset="2"/>
              <a:buChar char="n"/>
            </a:pPr>
            <a:r>
              <a:rPr lang="en-US" sz="800" b="0" dirty="0"/>
              <a:t>Ready for ‘Backpack</a:t>
            </a:r>
            <a:r>
              <a:rPr lang="en-US" sz="800" b="0" dirty="0" smtClean="0"/>
              <a:t>’ solutions</a:t>
            </a:r>
          </a:p>
          <a:p>
            <a:pPr marL="174625" indent="-174625" fontAlgn="ctr">
              <a:spcBef>
                <a:spcPts val="0"/>
              </a:spcBef>
              <a:buFont typeface="Wingdings" pitchFamily="2" charset="2"/>
              <a:buChar char="n"/>
            </a:pPr>
            <a:r>
              <a:rPr lang="en-US" sz="800" b="0" dirty="0" smtClean="0"/>
              <a:t>Energy saving</a:t>
            </a:r>
          </a:p>
          <a:p>
            <a:pPr marL="174625" indent="-174625" fontAlgn="ctr">
              <a:spcBef>
                <a:spcPts val="0"/>
              </a:spcBef>
              <a:buFont typeface="Wingdings" pitchFamily="2" charset="2"/>
              <a:buChar char="n"/>
            </a:pPr>
            <a:r>
              <a:rPr lang="en-US" sz="800" b="0" dirty="0" smtClean="0"/>
              <a:t>Audio support</a:t>
            </a:r>
          </a:p>
          <a:p>
            <a:pPr marL="174625" indent="-174625" fontAlgn="ctr">
              <a:spcBef>
                <a:spcPts val="0"/>
              </a:spcBef>
              <a:buFont typeface="Wingdings" pitchFamily="2" charset="2"/>
              <a:buChar char="n"/>
            </a:pPr>
            <a:endParaRPr lang="en-US" sz="800" b="0" dirty="0" smtClean="0"/>
          </a:p>
          <a:p>
            <a:pPr marL="174625" indent="-174625"/>
            <a:endParaRPr lang="en-US" sz="1000" dirty="0" smtClean="0"/>
          </a:p>
          <a:p>
            <a:endParaRPr lang="en-US" dirty="0"/>
          </a:p>
        </p:txBody>
      </p:sp>
      <p:pic>
        <p:nvPicPr>
          <p:cNvPr id="21" name="Grafik 20" descr="Bild1.png"/>
          <p:cNvPicPr>
            <a:picLocks noChangeAspect="1"/>
          </p:cNvPicPr>
          <p:nvPr/>
        </p:nvPicPr>
        <p:blipFill>
          <a:blip r:embed="rId2" cstate="print"/>
          <a:srcRect l="1779" t="1969"/>
          <a:stretch>
            <a:fillRect/>
          </a:stretch>
        </p:blipFill>
        <p:spPr>
          <a:xfrm>
            <a:off x="8470148" y="3854180"/>
            <a:ext cx="439200" cy="215642"/>
          </a:xfrm>
          <a:prstGeom prst="rect">
            <a:avLst/>
          </a:prstGeom>
        </p:spPr>
      </p:pic>
      <p:pic>
        <p:nvPicPr>
          <p:cNvPr id="22" name="Picture 48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570540" y="3195442"/>
            <a:ext cx="244598" cy="2700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</p:pic>
      <p:pic>
        <p:nvPicPr>
          <p:cNvPr id="23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460432" y="3525766"/>
            <a:ext cx="432048" cy="2589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5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597297" y="4167290"/>
            <a:ext cx="219660" cy="276668"/>
          </a:xfrm>
          <a:prstGeom prst="rect">
            <a:avLst/>
          </a:prstGeom>
          <a:noFill/>
        </p:spPr>
      </p:pic>
      <p:sp>
        <p:nvSpPr>
          <p:cNvPr id="26" name="Rectangle 174"/>
          <p:cNvSpPr>
            <a:spLocks noChangeArrowheads="1"/>
          </p:cNvSpPr>
          <p:nvPr/>
        </p:nvSpPr>
        <p:spPr bwMode="auto">
          <a:xfrm>
            <a:off x="610307" y="2701390"/>
            <a:ext cx="465684" cy="23040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tx2"/>
            </a:solidFill>
            <a:prstDash val="solid"/>
            <a:headEnd type="none" w="med" len="med"/>
            <a:tailEnd type="none" w="med" len="med"/>
          </a:ln>
          <a:effectLst/>
        </p:spPr>
        <p:txBody>
          <a:bodyPr wrap="square" lIns="54000" tIns="46800" rIns="90000" bIns="46800" anchor="ctr" anchorCtr="0"/>
          <a:lstStyle/>
          <a:p>
            <a:pPr algn="l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sz="700" b="1" kern="0" dirty="0" smtClean="0">
                <a:latin typeface="Arial"/>
                <a:cs typeface="Arial"/>
              </a:rPr>
              <a:t>E22T-7 LED</a:t>
            </a:r>
            <a:endParaRPr kumimoji="0" lang="en-US" sz="600" kern="0" dirty="0" smtClean="0">
              <a:latin typeface="Arial"/>
              <a:cs typeface="Arial"/>
            </a:endParaRPr>
          </a:p>
        </p:txBody>
      </p:sp>
      <p:pic>
        <p:nvPicPr>
          <p:cNvPr id="27" name="Picture 2" descr="C:\Users\ABGDINTRONOB\AppData\Local\Microsoft\Windows\Temporary Internet Files\Content.Outlook\4X2HC0VT\erde.gif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223640" y="2460188"/>
            <a:ext cx="108000" cy="108000"/>
          </a:xfrm>
          <a:prstGeom prst="rect">
            <a:avLst/>
          </a:prstGeom>
          <a:noFill/>
        </p:spPr>
      </p:pic>
      <p:sp>
        <p:nvSpPr>
          <p:cNvPr id="29" name="Rectangle 174"/>
          <p:cNvSpPr>
            <a:spLocks noChangeArrowheads="1"/>
          </p:cNvSpPr>
          <p:nvPr/>
        </p:nvSpPr>
        <p:spPr bwMode="auto">
          <a:xfrm>
            <a:off x="611560" y="3700905"/>
            <a:ext cx="5177749" cy="216249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tx2"/>
            </a:solidFill>
            <a:prstDash val="solid"/>
            <a:headEnd type="none" w="med" len="med"/>
            <a:tailEnd type="none" w="med" len="med"/>
          </a:ln>
          <a:effectLst/>
        </p:spPr>
        <p:txBody>
          <a:bodyPr wrap="square" lIns="54000" tIns="46800" rIns="90000" bIns="46800" anchor="ctr" anchorCtr="0"/>
          <a:lstStyle/>
          <a:p>
            <a:pPr>
              <a:defRPr/>
            </a:pPr>
            <a:r>
              <a:rPr kumimoji="0" lang="en-US" sz="700" b="1" kern="0" dirty="0" smtClean="0">
                <a:latin typeface="Arial"/>
                <a:cs typeface="Arial"/>
              </a:rPr>
              <a:t>E19-7 LED  </a:t>
            </a:r>
            <a:r>
              <a:rPr lang="en-US" sz="600" kern="0" dirty="0" smtClean="0">
                <a:cs typeface="Arial"/>
              </a:rPr>
              <a:t>IPS, black</a:t>
            </a:r>
            <a:r>
              <a:rPr lang="en-US" sz="600" kern="0" dirty="0">
                <a:cs typeface="Arial"/>
              </a:rPr>
              <a:t/>
            </a:r>
            <a:br>
              <a:rPr lang="en-US" sz="600" kern="0" dirty="0">
                <a:cs typeface="Arial"/>
              </a:rPr>
            </a:br>
            <a:r>
              <a:rPr lang="en-US" sz="600" kern="0" dirty="0" smtClean="0">
                <a:cs typeface="Arial"/>
              </a:rPr>
              <a:t>19”, 5:4 format,1280x1024px, DVI, VGA</a:t>
            </a:r>
            <a:endParaRPr kumimoji="0" lang="en-US" sz="700" kern="0" dirty="0" smtClean="0">
              <a:latin typeface="Arial"/>
              <a:cs typeface="Arial"/>
            </a:endParaRPr>
          </a:p>
        </p:txBody>
      </p:sp>
      <p:pic>
        <p:nvPicPr>
          <p:cNvPr id="30" name="Picture 2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47697" y="3558135"/>
            <a:ext cx="145086" cy="95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1" name="Picture 48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67490" y="3558354"/>
            <a:ext cx="87021" cy="9980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</p:pic>
      <p:pic>
        <p:nvPicPr>
          <p:cNvPr id="32" name="Picture 351"/>
          <p:cNvPicPr>
            <a:picLocks noChangeAspect="1" noChangeArrowheads="1"/>
          </p:cNvPicPr>
          <p:nvPr/>
        </p:nvPicPr>
        <p:blipFill>
          <a:blip r:embed="rId9" cstate="print"/>
          <a:srcRect l="976" t="2132"/>
          <a:stretch>
            <a:fillRect/>
          </a:stretch>
        </p:blipFill>
        <p:spPr bwMode="auto">
          <a:xfrm>
            <a:off x="1013389" y="3558135"/>
            <a:ext cx="148835" cy="7633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</p:pic>
      <p:pic>
        <p:nvPicPr>
          <p:cNvPr id="34" name="Picture 2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51588" y="3046270"/>
            <a:ext cx="145086" cy="95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5" name="Picture 48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65031" y="3046489"/>
            <a:ext cx="87021" cy="9980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</p:pic>
      <p:pic>
        <p:nvPicPr>
          <p:cNvPr id="39" name="Grafik 38" descr="Bild1.png"/>
          <p:cNvPicPr>
            <a:picLocks noChangeAspect="1"/>
          </p:cNvPicPr>
          <p:nvPr/>
        </p:nvPicPr>
        <p:blipFill>
          <a:blip r:embed="rId10" cstate="print"/>
          <a:srcRect l="2670" t="1359"/>
          <a:stretch>
            <a:fillRect/>
          </a:stretch>
        </p:blipFill>
        <p:spPr>
          <a:xfrm>
            <a:off x="1023136" y="3042442"/>
            <a:ext cx="141378" cy="76998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41" name="Picture 2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60123" y="2471726"/>
            <a:ext cx="145086" cy="95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2" name="Picture 48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73566" y="2471945"/>
            <a:ext cx="87021" cy="9980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</p:pic>
      <p:pic>
        <p:nvPicPr>
          <p:cNvPr id="43" name="Picture 351"/>
          <p:cNvPicPr>
            <a:picLocks noChangeAspect="1" noChangeArrowheads="1"/>
          </p:cNvPicPr>
          <p:nvPr/>
        </p:nvPicPr>
        <p:blipFill>
          <a:blip r:embed="rId9" cstate="print"/>
          <a:srcRect l="976" t="2132"/>
          <a:stretch>
            <a:fillRect/>
          </a:stretch>
        </p:blipFill>
        <p:spPr bwMode="auto">
          <a:xfrm>
            <a:off x="1015836" y="2471726"/>
            <a:ext cx="148835" cy="7633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</p:pic>
      <p:pic>
        <p:nvPicPr>
          <p:cNvPr id="45" name="Picture 2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53668" y="1298508"/>
            <a:ext cx="140101" cy="95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6" name="Picture 48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67112" y="1298727"/>
            <a:ext cx="84031" cy="9980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</p:pic>
      <p:pic>
        <p:nvPicPr>
          <p:cNvPr id="47" name="Grafik 46" descr="Bild1.png"/>
          <p:cNvPicPr>
            <a:picLocks noChangeAspect="1"/>
          </p:cNvPicPr>
          <p:nvPr/>
        </p:nvPicPr>
        <p:blipFill>
          <a:blip r:embed="rId10" cstate="print"/>
          <a:srcRect l="2670" t="1359"/>
          <a:stretch>
            <a:fillRect/>
          </a:stretch>
        </p:blipFill>
        <p:spPr>
          <a:xfrm>
            <a:off x="1012126" y="1307040"/>
            <a:ext cx="141378" cy="76998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40" name="Rectangle 174"/>
          <p:cNvSpPr>
            <a:spLocks noChangeArrowheads="1"/>
          </p:cNvSpPr>
          <p:nvPr/>
        </p:nvSpPr>
        <p:spPr bwMode="auto">
          <a:xfrm>
            <a:off x="611560" y="3176300"/>
            <a:ext cx="5177750" cy="23040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tx2"/>
            </a:solidFill>
            <a:prstDash val="solid"/>
            <a:headEnd type="none" w="med" len="med"/>
            <a:tailEnd type="none" w="med" len="med"/>
          </a:ln>
          <a:effectLst/>
        </p:spPr>
        <p:txBody>
          <a:bodyPr wrap="square" lIns="54000" tIns="46800" rIns="90000" bIns="46800" anchor="ctr" anchorCtr="0"/>
          <a:lstStyle/>
          <a:p>
            <a:pPr algn="l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b="1" kern="0" dirty="0" smtClean="0">
                <a:latin typeface="Arial"/>
                <a:cs typeface="Arial"/>
              </a:rPr>
              <a:t>E20T-7</a:t>
            </a:r>
            <a:r>
              <a:rPr lang="en-US" sz="700" kern="0" dirty="0" smtClean="0">
                <a:latin typeface="Arial"/>
                <a:cs typeface="Arial"/>
              </a:rPr>
              <a:t>, </a:t>
            </a:r>
            <a:r>
              <a:rPr lang="en-US" sz="600" kern="0" dirty="0" smtClean="0">
                <a:latin typeface="Arial"/>
                <a:cs typeface="Arial"/>
              </a:rPr>
              <a:t>black</a:t>
            </a:r>
            <a:br>
              <a:rPr lang="en-US" sz="600" kern="0" dirty="0" smtClean="0">
                <a:latin typeface="Arial"/>
                <a:cs typeface="Arial"/>
              </a:rPr>
            </a:br>
            <a:r>
              <a:rPr lang="en-US" sz="600" kern="0" dirty="0" smtClean="0">
                <a:latin typeface="Arial"/>
                <a:cs typeface="Arial"/>
              </a:rPr>
              <a:t>19.5” , 16:9 format, 1600x900px, DVI, VGA</a:t>
            </a:r>
            <a:endParaRPr kumimoji="0" lang="en-US" sz="600" kern="0" dirty="0" smtClean="0">
              <a:latin typeface="Arial"/>
              <a:cs typeface="Arial"/>
            </a:endParaRPr>
          </a:p>
        </p:txBody>
      </p:sp>
      <p:sp>
        <p:nvSpPr>
          <p:cNvPr id="49" name="Rectangle 174"/>
          <p:cNvSpPr>
            <a:spLocks noChangeArrowheads="1"/>
          </p:cNvSpPr>
          <p:nvPr/>
        </p:nvSpPr>
        <p:spPr bwMode="auto">
          <a:xfrm>
            <a:off x="604735" y="2016862"/>
            <a:ext cx="2595699" cy="338864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tx2"/>
            </a:solidFill>
            <a:prstDash val="solid"/>
            <a:headEnd type="none" w="med" len="med"/>
            <a:tailEnd type="none" w="med" len="med"/>
          </a:ln>
          <a:effectLst/>
        </p:spPr>
        <p:txBody>
          <a:bodyPr wrap="square" lIns="54000" tIns="46800" rIns="90000" bIns="46800" anchor="ctr" anchorCtr="0"/>
          <a:lstStyle/>
          <a:p>
            <a:pPr>
              <a:defRPr/>
            </a:pPr>
            <a:r>
              <a:rPr kumimoji="0" lang="en-US" sz="700" b="1" kern="0" dirty="0" smtClean="0">
                <a:latin typeface="Arial"/>
                <a:cs typeface="Arial"/>
              </a:rPr>
              <a:t>E22 TOUCH</a:t>
            </a:r>
            <a:r>
              <a:rPr kumimoji="0" lang="en-US" sz="600" kern="0" dirty="0" smtClean="0">
                <a:latin typeface="Arial"/>
                <a:cs typeface="Arial"/>
              </a:rPr>
              <a:t>, </a:t>
            </a:r>
            <a:r>
              <a:rPr lang="en-US" sz="600" kern="0" dirty="0" smtClean="0">
                <a:latin typeface="Arial"/>
                <a:cs typeface="Arial"/>
              </a:rPr>
              <a:t>IPS</a:t>
            </a:r>
            <a:r>
              <a:rPr kumimoji="0" lang="en-US" sz="600" kern="0" dirty="0" smtClean="0">
                <a:latin typeface="Arial"/>
                <a:cs typeface="Arial"/>
              </a:rPr>
              <a:t>, </a:t>
            </a:r>
            <a:r>
              <a:rPr lang="en-US" sz="600" kern="0" dirty="0" smtClean="0">
                <a:latin typeface="Arial"/>
                <a:cs typeface="Arial"/>
              </a:rPr>
              <a:t>black</a:t>
            </a:r>
            <a:br>
              <a:rPr lang="en-US" sz="600" kern="0" dirty="0" smtClean="0">
                <a:latin typeface="Arial"/>
                <a:cs typeface="Arial"/>
              </a:rPr>
            </a:br>
            <a:r>
              <a:rPr lang="en-US" sz="600" kern="0" dirty="0" smtClean="0">
                <a:cs typeface="Arial"/>
              </a:rPr>
              <a:t>21.5</a:t>
            </a:r>
            <a:r>
              <a:rPr lang="en-US" sz="600" kern="0" dirty="0">
                <a:cs typeface="Arial"/>
              </a:rPr>
              <a:t>”, </a:t>
            </a:r>
            <a:r>
              <a:rPr lang="en-US" sz="600" kern="0" dirty="0" smtClean="0">
                <a:cs typeface="Arial"/>
              </a:rPr>
              <a:t>16:9 format,1920x1080px,4xUSB 3.0,HDMI,DVI,VGA</a:t>
            </a:r>
            <a:br>
              <a:rPr lang="en-US" sz="600" kern="0" dirty="0" smtClean="0">
                <a:cs typeface="Arial"/>
              </a:rPr>
            </a:br>
            <a:r>
              <a:rPr lang="en-US" sz="600" kern="0" dirty="0" smtClean="0">
                <a:cs typeface="Arial"/>
              </a:rPr>
              <a:t>10-finger </a:t>
            </a:r>
            <a:r>
              <a:rPr kumimoji="0" lang="en-US" sz="600" kern="0" dirty="0" smtClean="0">
                <a:latin typeface="Arial"/>
                <a:cs typeface="Arial"/>
              </a:rPr>
              <a:t>PCT touch, non-glossy</a:t>
            </a:r>
            <a:endParaRPr kumimoji="0" lang="en-US" sz="600" kern="0" dirty="0">
              <a:latin typeface="Arial"/>
              <a:cs typeface="Arial"/>
            </a:endParaRPr>
          </a:p>
        </p:txBody>
      </p:sp>
      <p:pic>
        <p:nvPicPr>
          <p:cNvPr id="53" name="Picture 2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46844" y="1874966"/>
            <a:ext cx="140101" cy="95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4" name="Picture 48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60288" y="1875185"/>
            <a:ext cx="84031" cy="9980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</p:pic>
      <p:sp>
        <p:nvSpPr>
          <p:cNvPr id="52" name="Rectangle 174"/>
          <p:cNvSpPr>
            <a:spLocks noChangeArrowheads="1"/>
          </p:cNvSpPr>
          <p:nvPr/>
        </p:nvSpPr>
        <p:spPr bwMode="auto">
          <a:xfrm>
            <a:off x="4067944" y="2026022"/>
            <a:ext cx="1721367" cy="23040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tx2"/>
            </a:solidFill>
            <a:prstDash val="dash"/>
            <a:headEnd type="none" w="med" len="med"/>
            <a:tailEnd type="none" w="med" len="med"/>
          </a:ln>
          <a:effectLst/>
        </p:spPr>
        <p:txBody>
          <a:bodyPr wrap="square" lIns="54000" tIns="46800" rIns="90000" bIns="46800" anchor="ctr" anchorCtr="0"/>
          <a:lstStyle/>
          <a:p>
            <a:pPr algn="l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sz="700" b="1" kern="0" dirty="0" smtClean="0">
                <a:latin typeface="Arial"/>
                <a:cs typeface="Arial"/>
              </a:rPr>
              <a:t>Successor in P-Line</a:t>
            </a:r>
            <a:endParaRPr kumimoji="0" lang="en-US" sz="700" kern="0" dirty="0" smtClean="0">
              <a:latin typeface="Arial"/>
              <a:cs typeface="Arial"/>
            </a:endParaRPr>
          </a:p>
        </p:txBody>
      </p:sp>
      <p:sp>
        <p:nvSpPr>
          <p:cNvPr id="56" name="Rectangle 174"/>
          <p:cNvSpPr>
            <a:spLocks noChangeArrowheads="1"/>
          </p:cNvSpPr>
          <p:nvPr/>
        </p:nvSpPr>
        <p:spPr bwMode="auto">
          <a:xfrm>
            <a:off x="611560" y="1477254"/>
            <a:ext cx="2808312" cy="23040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bg2">
                <a:lumMod val="75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wrap="square" lIns="54000" tIns="46800" rIns="90000" bIns="46800" anchor="ctr" anchorCtr="0"/>
          <a:lstStyle/>
          <a:p>
            <a:pPr>
              <a:defRPr/>
            </a:pPr>
            <a:r>
              <a:rPr lang="en-US" sz="700" b="1" kern="0" dirty="0" smtClean="0">
                <a:cs typeface="Arial"/>
              </a:rPr>
              <a:t>E24T-7 Pro,</a:t>
            </a:r>
            <a:r>
              <a:rPr lang="en-US" sz="600" kern="0" dirty="0">
                <a:cs typeface="Arial"/>
              </a:rPr>
              <a:t> </a:t>
            </a:r>
            <a:r>
              <a:rPr lang="en-US" sz="600" kern="0" dirty="0" smtClean="0">
                <a:cs typeface="Arial"/>
              </a:rPr>
              <a:t>IPS,</a:t>
            </a:r>
            <a:r>
              <a:rPr lang="en-US" sz="600" kern="0" dirty="0" smtClean="0">
                <a:latin typeface="Arial"/>
                <a:cs typeface="Arial"/>
              </a:rPr>
              <a:t> </a:t>
            </a:r>
            <a:r>
              <a:rPr lang="en-US" sz="600" kern="0" dirty="0">
                <a:latin typeface="Arial"/>
                <a:cs typeface="Arial"/>
              </a:rPr>
              <a:t>black</a:t>
            </a:r>
          </a:p>
          <a:p>
            <a:pPr>
              <a:defRPr/>
            </a:pPr>
            <a:r>
              <a:rPr lang="en-US" sz="600" kern="0" dirty="0">
                <a:latin typeface="Arial"/>
                <a:cs typeface="Arial"/>
              </a:rPr>
              <a:t>23.8”, </a:t>
            </a:r>
            <a:r>
              <a:rPr lang="en-US" sz="600" kern="0" dirty="0" smtClean="0">
                <a:latin typeface="Arial"/>
                <a:cs typeface="Arial"/>
              </a:rPr>
              <a:t>16:9 format, FHD, </a:t>
            </a:r>
            <a:r>
              <a:rPr lang="en-US" sz="600" kern="0" dirty="0">
                <a:cs typeface="Arial"/>
              </a:rPr>
              <a:t>1920x1080px, HDMI,DVI,VGA</a:t>
            </a:r>
            <a:endParaRPr lang="en-US" sz="600" kern="0" dirty="0">
              <a:latin typeface="Arial"/>
              <a:cs typeface="Arial"/>
            </a:endParaRPr>
          </a:p>
        </p:txBody>
      </p:sp>
      <p:sp>
        <p:nvSpPr>
          <p:cNvPr id="57" name="Rectangle 174"/>
          <p:cNvSpPr>
            <a:spLocks noChangeArrowheads="1"/>
          </p:cNvSpPr>
          <p:nvPr/>
        </p:nvSpPr>
        <p:spPr bwMode="auto">
          <a:xfrm>
            <a:off x="954510" y="2586190"/>
            <a:ext cx="4834799" cy="23040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tx2"/>
            </a:solidFill>
            <a:prstDash val="solid"/>
            <a:headEnd type="none" w="med" len="med"/>
            <a:tailEnd type="none" w="med" len="med"/>
          </a:ln>
          <a:effectLst/>
        </p:spPr>
        <p:txBody>
          <a:bodyPr wrap="square" lIns="54000" tIns="46800" rIns="90000" bIns="46800" anchor="ctr" anchorCtr="0"/>
          <a:lstStyle/>
          <a:p>
            <a:pPr lvl="0">
              <a:defRPr/>
            </a:pPr>
            <a:r>
              <a:rPr lang="en-US" sz="700" b="1" kern="0" dirty="0" smtClean="0">
                <a:solidFill>
                  <a:srgbClr val="000000"/>
                </a:solidFill>
                <a:cs typeface="Arial"/>
              </a:rPr>
              <a:t>E22T-7 Pro,</a:t>
            </a:r>
            <a:r>
              <a:rPr lang="en-US" sz="700" kern="0" dirty="0" smtClean="0">
                <a:solidFill>
                  <a:srgbClr val="000000"/>
                </a:solidFill>
                <a:cs typeface="Arial"/>
              </a:rPr>
              <a:t> </a:t>
            </a:r>
            <a:r>
              <a:rPr lang="en-US" sz="600" kern="0" dirty="0" smtClean="0">
                <a:cs typeface="Arial"/>
              </a:rPr>
              <a:t>IPS, black</a:t>
            </a:r>
            <a:r>
              <a:rPr lang="en-US" sz="700" kern="0" dirty="0" smtClean="0">
                <a:solidFill>
                  <a:srgbClr val="000000"/>
                </a:solidFill>
                <a:cs typeface="Arial"/>
              </a:rPr>
              <a:t/>
            </a:r>
            <a:br>
              <a:rPr lang="en-US" sz="700" kern="0" dirty="0" smtClean="0">
                <a:solidFill>
                  <a:srgbClr val="000000"/>
                </a:solidFill>
                <a:cs typeface="Arial"/>
              </a:rPr>
            </a:br>
            <a:r>
              <a:rPr lang="en-US" sz="600" kern="0" dirty="0" smtClean="0">
                <a:solidFill>
                  <a:srgbClr val="000000"/>
                </a:solidFill>
                <a:cs typeface="Arial"/>
              </a:rPr>
              <a:t>21.5”, 16:9 format, FHD, </a:t>
            </a:r>
            <a:r>
              <a:rPr lang="en-US" sz="600" kern="0" dirty="0">
                <a:solidFill>
                  <a:srgbClr val="000000"/>
                </a:solidFill>
                <a:cs typeface="Arial"/>
              </a:rPr>
              <a:t>1920x1080px, </a:t>
            </a:r>
            <a:r>
              <a:rPr lang="en-US" sz="600" kern="0" dirty="0" smtClean="0">
                <a:cs typeface="Arial"/>
              </a:rPr>
              <a:t>HDMI,DVI,VGA</a:t>
            </a:r>
            <a:endParaRPr lang="en-US" sz="600" kern="0" dirty="0">
              <a:cs typeface="Arial"/>
            </a:endParaRPr>
          </a:p>
        </p:txBody>
      </p:sp>
      <p:sp>
        <p:nvSpPr>
          <p:cNvPr id="51" name="Rectangle 174"/>
          <p:cNvSpPr>
            <a:spLocks noChangeArrowheads="1"/>
          </p:cNvSpPr>
          <p:nvPr/>
        </p:nvSpPr>
        <p:spPr bwMode="auto">
          <a:xfrm>
            <a:off x="3419872" y="1478930"/>
            <a:ext cx="2369438" cy="23040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tx2"/>
            </a:solidFill>
            <a:prstDash val="solid"/>
            <a:headEnd type="none" w="med" len="med"/>
            <a:tailEnd type="none" w="med" len="med"/>
          </a:ln>
          <a:effectLst/>
        </p:spPr>
        <p:txBody>
          <a:bodyPr wrap="square" lIns="54000" tIns="46800" rIns="90000" bIns="46800" anchor="ctr" anchorCtr="0"/>
          <a:lstStyle/>
          <a:p>
            <a:pPr lvl="0">
              <a:defRPr/>
            </a:pPr>
            <a:r>
              <a:rPr lang="en-US" sz="700" b="1" kern="0" smtClean="0">
                <a:solidFill>
                  <a:srgbClr val="000000"/>
                </a:solidFill>
                <a:cs typeface="Arial"/>
              </a:rPr>
              <a:t>E24-8 TS </a:t>
            </a:r>
            <a:r>
              <a:rPr lang="en-US" sz="700" b="1" kern="0">
                <a:solidFill>
                  <a:srgbClr val="000000"/>
                </a:solidFill>
                <a:cs typeface="Arial"/>
              </a:rPr>
              <a:t>Pro,</a:t>
            </a:r>
            <a:r>
              <a:rPr lang="en-US" sz="600" kern="0">
                <a:solidFill>
                  <a:srgbClr val="000000"/>
                </a:solidFill>
                <a:cs typeface="Arial"/>
              </a:rPr>
              <a:t> </a:t>
            </a:r>
            <a:r>
              <a:rPr lang="en-US" sz="600" kern="0" smtClean="0">
                <a:solidFill>
                  <a:srgbClr val="000000"/>
                </a:solidFill>
                <a:cs typeface="Arial"/>
              </a:rPr>
              <a:t>IPS, black</a:t>
            </a:r>
            <a:endParaRPr lang="en-US" sz="600" kern="0">
              <a:solidFill>
                <a:srgbClr val="000000"/>
              </a:solidFill>
              <a:cs typeface="Arial"/>
            </a:endParaRPr>
          </a:p>
          <a:p>
            <a:pPr lvl="0">
              <a:defRPr/>
            </a:pPr>
            <a:r>
              <a:rPr lang="en-US" sz="600" kern="0">
                <a:solidFill>
                  <a:srgbClr val="000000"/>
                </a:solidFill>
                <a:cs typeface="Arial"/>
              </a:rPr>
              <a:t>23.8”, 16:9 format, FHD, 1920x1080px, </a:t>
            </a:r>
            <a:r>
              <a:rPr lang="en-US" sz="600" kern="0" smtClean="0">
                <a:solidFill>
                  <a:srgbClr val="000000"/>
                </a:solidFill>
                <a:cs typeface="Arial"/>
              </a:rPr>
              <a:t>DP,DVI,VGA</a:t>
            </a:r>
            <a:endParaRPr lang="en-US" sz="600" kern="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6025548" y="1158855"/>
            <a:ext cx="83869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E</a:t>
            </a:r>
            <a:r>
              <a:rPr lang="en-US" dirty="0" smtClean="0">
                <a:solidFill>
                  <a:schemeClr val="bg1"/>
                </a:solidFill>
              </a:rPr>
              <a:t> </a:t>
            </a:r>
            <a:r>
              <a:rPr lang="en-US" dirty="0">
                <a:solidFill>
                  <a:schemeClr val="bg1"/>
                </a:solidFill>
              </a:rPr>
              <a:t>Line</a:t>
            </a:r>
          </a:p>
        </p:txBody>
      </p:sp>
      <p:sp>
        <p:nvSpPr>
          <p:cNvPr id="36" name="Rectangle 174"/>
          <p:cNvSpPr>
            <a:spLocks noChangeArrowheads="1"/>
          </p:cNvSpPr>
          <p:nvPr/>
        </p:nvSpPr>
        <p:spPr bwMode="auto">
          <a:xfrm>
            <a:off x="3851920" y="3171538"/>
            <a:ext cx="1937391" cy="23040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tx2"/>
            </a:solidFill>
            <a:prstDash val="solid"/>
            <a:headEnd type="none" w="med" len="med"/>
            <a:tailEnd type="none" w="med" len="med"/>
          </a:ln>
          <a:effectLst/>
        </p:spPr>
        <p:txBody>
          <a:bodyPr wrap="square" lIns="54000" tIns="46800" rIns="90000" bIns="46800" anchor="ctr" anchorCtr="0"/>
          <a:lstStyle/>
          <a:p>
            <a:pPr lvl="0">
              <a:defRPr/>
            </a:pPr>
            <a:r>
              <a:rPr lang="en-US" sz="700" b="1" kern="0" dirty="0" smtClean="0">
                <a:solidFill>
                  <a:srgbClr val="000000"/>
                </a:solidFill>
                <a:cs typeface="Arial"/>
              </a:rPr>
              <a:t>E22-8 TS </a:t>
            </a:r>
            <a:r>
              <a:rPr lang="en-US" sz="700" b="1" kern="0" dirty="0">
                <a:solidFill>
                  <a:srgbClr val="000000"/>
                </a:solidFill>
                <a:cs typeface="Arial"/>
              </a:rPr>
              <a:t>Pro,</a:t>
            </a:r>
            <a:r>
              <a:rPr lang="en-US" sz="600" kern="0" dirty="0">
                <a:solidFill>
                  <a:srgbClr val="000000"/>
                </a:solidFill>
                <a:cs typeface="Arial"/>
              </a:rPr>
              <a:t> </a:t>
            </a:r>
            <a:r>
              <a:rPr lang="en-US" sz="600" kern="0" dirty="0" smtClean="0">
                <a:solidFill>
                  <a:srgbClr val="000000"/>
                </a:solidFill>
                <a:cs typeface="Arial"/>
              </a:rPr>
              <a:t>IPS, black</a:t>
            </a:r>
            <a:endParaRPr lang="en-US" sz="600" kern="0" dirty="0">
              <a:solidFill>
                <a:srgbClr val="000000"/>
              </a:solidFill>
              <a:cs typeface="Arial"/>
            </a:endParaRPr>
          </a:p>
          <a:p>
            <a:pPr lvl="0">
              <a:defRPr/>
            </a:pPr>
            <a:r>
              <a:rPr lang="en-US" sz="600" kern="0" dirty="0" smtClean="0">
                <a:solidFill>
                  <a:srgbClr val="000000"/>
                </a:solidFill>
                <a:cs typeface="Arial"/>
              </a:rPr>
              <a:t>21.5”, </a:t>
            </a:r>
            <a:r>
              <a:rPr lang="en-US" sz="600" kern="0" dirty="0">
                <a:solidFill>
                  <a:srgbClr val="000000"/>
                </a:solidFill>
                <a:cs typeface="Arial"/>
              </a:rPr>
              <a:t>16:9 format, FHD, 1920x1080px, </a:t>
            </a:r>
            <a:r>
              <a:rPr lang="en-US" sz="600" kern="0" dirty="0" smtClean="0">
                <a:solidFill>
                  <a:srgbClr val="000000"/>
                </a:solidFill>
                <a:cs typeface="Arial"/>
              </a:rPr>
              <a:t>DP,DVI,VGA</a:t>
            </a:r>
            <a:endParaRPr lang="en-US" sz="600" kern="0" dirty="0">
              <a:solidFill>
                <a:srgbClr val="000000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11526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98413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ADJUSTSHAPES_ARROWANGLE" val="45"/>
  <p:tag name="VCT_ADJUSTSHAPES_CHEVRONANGLE" val="60"/>
  <p:tag name="VCT_ADJUSTSHAPES_ROUNDRECTPOINTS" val="3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5Js3sHREiQG1_B0S889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aD5ZW0cpUmfROV0S8Gjh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m5P78xe0CE9LPUC7P5R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u65HNfvEq2JpmKx6Vbg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ZlN5uG1S02jLSpwMPNIg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0K99oSlZkyXygpCTYWF3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0K99oSlZkyXygpCTYWF3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mX8YHDwskegd1w6ja_CA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u65HNfvEq2JpmKx6Vbg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hKx4Wm6UurySWSyrC2W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hKx4Wm6UurySWSyrC2W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lNrKuB3keOmwxMlI_OZ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.10.2010 13:26:00"/>
  <p:tag name="VCTMASTER" val="Fujitsu"/>
  <p:tag name="VCTLAYOUT" val="title"/>
  <p:tag name="VCTORDER" val="1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25.10.2010 11:11:35"/>
  <p:tag name="PLACEHFMT" val="3"/>
  <p:tag name="VCT-BODYINDENTATION" val="0;0;"/>
  <p:tag name="VCT-BULLETVISIBILITY" val="L 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25.10.2010 11:11:35"/>
  <p:tag name="PLACEHFMT" val="4"/>
  <p:tag name="VCT-BODYINDENTATION" val="0;0;"/>
  <p:tag name="VCT-BULLETVISIBILITY" val="L 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.10.2010 13:26:00"/>
  <p:tag name="VCTMASTER" val="Fujitsu Master 16-9 red"/>
  <p:tag name="VCTORDER" val="1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21,25;21,25;42,5;42,5;56,25;56,25;70,62504;70,62496;85;"/>
  <p:tag name="VCT-BULLETVISIBILITY" val="G*****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.10.2010 13:26:00"/>
  <p:tag name="VCTMASTER" val="Fujitsu"/>
  <p:tag name="VCTLAYOUT" val="title"/>
  <p:tag name="VCTORDER" val="1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25.10.2010 11:11:35"/>
  <p:tag name="PLACEHFMT" val="3"/>
  <p:tag name="VCT-BODYINDENTATION" val="0;0;"/>
  <p:tag name="VCT-BULLETVISIBILITY" val="L 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25.10.2010 11:11:35"/>
  <p:tag name="PLACEHFMT" val="4"/>
  <p:tag name="VCT-BODYINDENTATION" val="0;0;"/>
  <p:tag name="VCT-BULLETVISIBILITY" val="L 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.10.2010 13:26:00"/>
  <p:tag name="VCTMASTER" val="Fujitsu"/>
  <p:tag name="VCTLAYOUT" val="title"/>
  <p:tag name="VCTORDER" val="1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25.10.2010 11:11:35"/>
  <p:tag name="PLACEHFMT" val="3"/>
  <p:tag name="VCT-BODYINDENTATION" val="0;0;"/>
  <p:tag name="VCT-BULLETVISIBILITY" val="L 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ob.K5ccP0OHHvCPPDdzt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25.10.2010 11:11:35"/>
  <p:tag name="PLACEHFMT" val="4"/>
  <p:tag name="VCT-BODYINDENTATION" val="0;0;"/>
  <p:tag name="VCT-BULLETVISIBILITY" val="L 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sreU9HkuY0i9q52s4s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HLTByVfk.rLtzBH5VHG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HLTByVfk.rLtzBH5VHG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  <p:tag name="THINKCELLSHAPEDONOTDELETE" val="pN5k12JWH_kSyfkfoAkri_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FiXtyzCE2nHGEZ51Usqg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HLTByVfk.rLtzBH5VHG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f8B5Lbav0WVTRXriLgTz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rp8HOXepEWAHAx8M_zEh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XpedcRD0iCckRJN80KX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ipj2UObU2rSthp8Ie1D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..6IP0fEKFvemJV4d3l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O5VdTw3U.n6ewSJxkyk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DKlXRSc0Gm1EwlaE72n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GKVf8lUqZChXCsyqaK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5SpV6ydskC6Xe7Pr6TXR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fb01ngPekCExRVfqCSs5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qZhQ0Ora0uZbxDIJmHYX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ATIeZMA0etCGwqtQUfR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pvmSq6xkGikS8Ypkyrd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0a8QPgNUejIWFP4gQSv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6f5zSi5xUuyVICMPzOZE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g0lk5tULkGDLjbIhF2QD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P2H9Ha9DUavO3Z1BE1VG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A3zFLbGHEeB41e9LqGat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e5Zb9Yy0a6GS1Vk1s5p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YFxv5mpFUiOj3j0MPynQ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b7aynE_063xvOyI9beX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UvOpEI5E67fnqtKnf1J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oLq0QL_bUW4DD6YmdgLA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FnjcrYekG26FvL3EsoAg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LZ3l_ycMUO_njTNqBm2u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cTZKL3wE.p4hCAidbbE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7Cp5.EzkawT_TZn6WVk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HkSPBqkS.aW0mCkp9S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KYfxCF4UGFb_ZnYr1xu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.VfD6obkiz1crmqg_0W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iSP_TPaEuLXxty1Fcod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B2c2U3ck61IVQ5DpZmN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0Y_e38IUCrP4hQRgSSI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.m_E18TESi0Zo07kWf9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oMQlDA5N0axkHs5iuT62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8Ab.PZWrUO1KH6_kQvMF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BoiAippMk.Z5S8BhKWuv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Y7gIdIUnEiU2J5XgFzRf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3yR9sRvkWZgLxcLDN7c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gqqLIMs_Eq09fnjMXfJT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Z5AzIwFpkSA1QVlVaxM3g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QYpswH4u0yChDyoqCcE3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JOx2mwfEyLOwsIs19pKQ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bxRXkYY7Eia6JacSHA07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WVkiYx0w0asZ6oEf0FEl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MvKcvpQEyhteoI.EqqMg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ByRGz2L0OBOIVwA3MMyQ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42oNKe902.Qr3i3Hrd0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VJvusAvEuHk.Ryw45q3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VJvusAvEuHk.Ryw45q3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5SpV6ydskC6Xe7Pr6TXR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5SpV6ydskC6Xe7Pr6TXRQ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VJvusAvEuHk.Ryw45q3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9NpTqqaSkyn6x_oVnvkxw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MvKcvpQEyhteoI.EqqM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vTNirjBkayOh77BnyVQ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vTNirjBkayOh77BnyVQA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PP6FmQH0OiqWYGYiFot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PP6FmQH0OiqWYGYiFot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HLTByVfk.rLtzBH5VHGg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  <p:tag name="THINKCELLSHAPEDONOTDELETE" val="pN5k12JWH_kSyfkfoAkri_g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HLTByVfk.rLtzBH5VHGg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f8B5Lbav0WVTRXriLgTzg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rp8HOXepEWAHAx8M_zEh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.10.2010 13:26:00"/>
  <p:tag name="VCT-TEMPLATE" val="Master 16-9_red.potx"/>
  <p:tag name="VCTMASTER" val="Fujitsu Master 16-9 red"/>
  <p:tag name="VCTORDER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9ECXxgVrkuGyedqjVx9ww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XpedcRD0iCckRJN80KXA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ipj2UObU2rSthp8Ie1D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..6IP0fEKFvemJV4d3lg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O5VdTw3U.n6ewSJxkykQ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DKlXRSc0Gm1EwlaE72n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GKVf8lUqZChXCsyqaKg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5SpV6ydskC6Xe7Pr6TXRQ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qZhQ0Ora0uZbxDIJmHYXQ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ATIeZMA0etCGwqtQUfR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pvmSq6xkGikS8Ypkyrd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Kz.q48XUu6UEXq_.B4Vw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0a8QPgNUejIWFP4gQSvg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6f5zSi5xUuyVICMPzOZEg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g0lk5tULkGDLjbIhF2QDA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P2H9Ha9DUavO3Z1BE1VG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A3zFLbGHEeB41e9LqGatA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e5Zb9Yy0a6GS1Vk1s5p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YFxv5mpFUiOj3j0MPynQ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UvOpEI5E67fnqtKnf1Jw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oLq0QL_bUW4DD6YmdgLAQ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FnjcrYekG26FvL3EsoA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8XqqBUjUSE234jhvO2oQ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LZ3l_ycMUO_njTNqBm2ug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cTZKL3wE.p4hCAidbbE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7Cp5.EzkawT_TZn6WVk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HkSPBqkS.aW0mCkp9SA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KYfxCF4UGFb_ZnYr1xuw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.VfD6obkiz1crmqg_0WA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iSP_TPaEuLXxty1FcodQ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0Y_e38IUCrP4hQRgSSIA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.m_E18TESi0Zo07kWf9Q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oMQlDA5N0axkHs5iuT62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.mLhychkGoSe79wX1UMQ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8Ab.PZWrUO1KH6_kQvMF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BoiAippMk.Z5S8BhKWuvA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Y7gIdIUnEiU2J5XgFzRfA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3yR9sRvkWZgLxcLDN7c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gqqLIMs_Eq09fnjMXfJTA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Z5AzIwFpkSA1QVlVaxM3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QYpswH4u0yChDyoqCcE3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bxRXkYY7Eia6JacSHA07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WVkiYx0w0asZ6oEf0FElg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MvKcvpQEyhteoI.EqqM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Ot_2Wrb0S3ZH2X26ib3Q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ByRGz2L0OBOIVwA3MMyQ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42oNKe902.Qr3i3Hrd0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VJvusAvEuHk.Ryw45q3A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5SpV6ydskC6Xe7Pr6TXRQ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VJvusAvEuHk.Ryw45q3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MvKcvpQEyhteoI.EqqM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vTNirjBkayOh77BnyVQA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vTNirjBkayOh77BnyVQA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PP6FmQH0OiqWYGYiFot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PP6FmQH0OiqWYGYiFot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.vV7PMDEKZzCKO.PKfag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  <p:tag name="THINKCELLSHAPEDONOTDELETE" val="pN5k12JWH_kSyfkfoAkri_g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HLTByVfk.rLtzBH5VHGg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f8B5Lbav0WVTRXriLgTzg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rp8HOXepEWAHAx8M_zEhg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XpedcRD0iCckRJN80KX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ipj2UObU2rSthp8Ie1DA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..6IP0fEKFvemJV4d3lg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O5VdTw3U.n6ewSJxkykQ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DKlXRSc0Gm1EwlaE72nw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GKVf8lUqZChXCsyqaK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UzFiihn0SjWy6JAFH5K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qZhQ0Ora0uZbxDIJmHYXQ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ATIeZMA0etCGwqtQUfRA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pvmSq6xkGikS8Ypkyrdw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0a8QPgNUejIWFP4gQSv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6f5zSi5xUuyVICMPzOZEg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g0lk5tULkGDLjbIhF2QD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P2H9Ha9DUavO3Z1BE1VGg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A3zFLbGHEeB41e9LqGatA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e5Zb9Yy0a6GS1Vk1s5pA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YFxv5mpFUiOj3j0MPynQ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rhWacVZUuFhfi2GRKpo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UvOpEI5E67fnqtKnf1Jw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oLq0QL_bUW4DD6YmdgLAQ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FnjcrYekG26FvL3EsoAg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LZ3l_ycMUO_njTNqBm2ug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cTZKL3wE.p4hCAidbbEQ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7Cp5.EzkawT_TZn6WVkA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HkSPBqkS.aW0mCkp9SA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KYfxCF4UGFb_ZnYr1xuw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.VfD6obkiz1crmqg_0W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iSP_TPaEuLXxty1Fcod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IzlY5UFE2ofKGHcDoMZ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0Y_e38IUCrP4hQRgSSIA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.m_E18TESi0Zo07kWf9Q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oMQlDA5N0axkHs5iuT62Q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8Ab.PZWrUO1KH6_kQvMFw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BoiAippMk.Z5S8BhKWuv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Y7gIdIUnEiU2J5XgFzRf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3yR9sRvkWZgLxcLDN7cg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gqqLIMs_Eq09fnjMXfJTA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Z5AzIwFpkSA1QVlVaxM3g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QYpswH4u0yChDyoqCcE3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nCnbXVbFkOPVDXozvde2g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bxRXkYY7Eia6JacSHA07A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WVkiYx0w0asZ6oEf0FElg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MvKcvpQEyhteoI.EqqMg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ByRGz2L0OBOIVwA3MMy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42oNKe902.Qr3i3Hrd0g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5SpV6ydskC6Xe7Pr6TXRQ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VJvusAvEuHk.Ryw45q3A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MvKcvpQEyhteoI.EqqMg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vTNirjBkayOh77BnyVQA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vTNirjBkayOh77BnyVQ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21.25;21.25;42.5;42.5;56.25;56.25;70.62504;70.62496;85;"/>
  <p:tag name="VCT-BULLETVISIBILITY" val="G*****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zHcXWd2hkajq6PCbzQ3ZQ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PP6FmQH0OiqWYGYiFotA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PP6FmQH0OiqWYGYiFotA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PNrpJa_FkCii82IXyrdC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u65HNfvEq2JpmKx6Vbgg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hKx4Wm6UurySWSyrC2Ww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  <p:tag name="THINKCELLSHAPEDONOTDELETE" val="pnLLa.fC9ZUmhnOXhJ01Ykw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wGG6suMXkmjh19_MjCpSA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OsuyOID_ESCjdoNPt5Q1Q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5Js3sHREiQG1_B0S889A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lNrKuB3keOmwxMlI_OZ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m30HaEbEue8.xo2uVX3g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ob.K5ccP0OHHvCPPDdztA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sreU9HkuY0i9q52s4sQ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FiXtyzCE2nHGEZ51Usqg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fb01ngPekCExRVfqCSs5g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b7aynE_063xvOyI9beXA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B2c2U3ck61IVQ5DpZmNQ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JOx2mwfEyLOwsIs19pKQ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9NpTqqaSkyn6x_oVnvkxw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9ECXxgVrkuGyedqjVx9ww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Kz.q48XUu6UEXq_.B4V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pHs73C7kuiXQ75Qb6zYA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8XqqBUjUSE234jhvO2oQ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.mLhychkGoSe79wX1UMQ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Ot_2Wrb0S3ZH2X26ib3Q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.vV7PMDEKZzCKO.PKfag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UzFiihn0SjWy6JAFH5KA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rhWacVZUuFhfi2GRKpoA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IzlY5UFE2ofKGHcDoMZw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nCnbXVbFkOPVDXozvde2g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zHcXWd2hkajq6PCbzQ3Z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m30HaEbEue8.xo2uVX3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7tzsSrRkuF8YJvyHagoA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pHs73C7kuiXQ75Qb6zYA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7tzsSrRkuF8YJvyHagoA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kNjiV1NjEGIEI3t3qmCMg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Cc4xw_fZESaQf5h.644yA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srIx1m5kOPEGT5m01kYg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1eIGd1RRUWuCzJ3Tdl01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xDPo1bo0.nbLRcrEkYLg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88A4f8DdEm7AnzEZtA26A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eLt_2Bu4Eea9miaw_F8ww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7EF_mHuskWhZanRbcHtE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kNjiV1NjEGIEI3t3qmCMg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Prcfv1aUiod_ckPwYlyA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skR60200iQyOh9OrU14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h7e7GuPEO96.1TLmV5Lg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ZlN5uG1S02jLSpwMPNIgQ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cAzDZW0.6f3dL5kxLgg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aD5ZW0cpUmfROV0S8GjhQ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m5P78xe0CE9LPUC7P5RA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ZlN5uG1S02jLSpwMPNIgQ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0K99oSlZkyXygpCTYWF3A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mX8YHDwskegd1w6ja_CA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Cc4xw_fZESaQf5h.644yA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mX8YHDwskegd1w6ja_CAQ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0K99oSlZkyXygpCTYWF3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PNrpJa_FkCii82IXyrdCw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u65HNfvEq2JpmKx6Vbgg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  <p:tag name="THINKCELLSHAPEDONOTDELETE" val="pnLLa.fC9ZUmhnOXhJ01Ykw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wGG6suMXkmjh19_MjCpSA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lNrKuB3keOmwxMlI_OZQ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ob.K5ccP0OHHvCPPDdztA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sreU9HkuY0i9q52s4sQ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FiXtyzCE2nHGEZ51Usq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srIx1m5kOPEGT5m01kYg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fb01ngPekCExRVfqCSs5g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b7aynE_063xvOyI9beXA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B2c2U3ck61IVQ5DpZmNQ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JOx2mwfEyLOwsIs19pKQ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9NpTqqaSkyn6x_oVnvkxw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9ECXxgVrkuGyedqjVx9ww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Kz.q48XUu6UEXq_.B4Vw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8XqqBUjUSE234jhvO2oQ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.mLhychkGoSe79wX1UMQ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Ot_2Wrb0S3ZH2X26ib3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1eIGd1RRUWuCzJ3Tdl01A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.vV7PMDEKZzCKO.PKfag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UzFiihn0SjWy6JAFH5KA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rhWacVZUuFhfi2GRKpoA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IzlY5UFE2ofKGHcDoMZw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nCnbXVbFkOPVDXozvde2g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zHcXWd2hkajq6PCbzQ3ZQ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m30HaEbEue8.xo2uVX3g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pHs73C7kuiXQ75Qb6zYA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7tzsSrRkuF8YJvyHagoA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kNjiV1NjEGIEI3t3qmCM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xDPo1bo0.nbLRcrEkYLg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Cc4xw_fZESaQf5h.644yA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srIx1m5kOPEGT5m01kYg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1eIGd1RRUWuCzJ3Tdl01A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xDPo1bo0.nbLRcrEkYLg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88A4f8DdEm7AnzEZtA26A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eLt_2Bu4Eea9miaw_F8ww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7EF_mHuskWhZanRbcHtEA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Prcfv1aUiod_ckPwYlyA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skR60200iQyOh9OrU14g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h7e7GuPEO96.1TLmV5L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88A4f8DdEm7AnzEZtA26A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ZlN5uG1S02jLSpwMPNIgQ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cAzDZW0.6f3dL5kxLgg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aD5ZW0cpUmfROV0S8GjhQ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m5P78xe0CE9LPUC7P5RA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ZlN5uG1S02jLSpwMPNIgQ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0K99oSlZkyXygpCTYWF3A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0K99oSlZkyXygpCTYWF3A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PNrpJa_FkCii82IXyrdCw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PNrpJa_FkCii82IXyrdCw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u65HNfvEq2JpmKx6Vbg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PNrpJa_FkCii82IXyrdC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eLt_2Bu4Eea9miaw_F8ww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hKx4Wm6UurySWSyrC2Ww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  <p:tag name="THINKCELLSHAPEDONOTDELETE" val="pnLLa.fC9ZUmhnOXhJ01Ykw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wGG6suMXkmjh19_MjCpSA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OsuyOID_ESCjdoNPt5Q1Q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5Js3sHREiQG1_B0S889A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lNrKuB3keOmwxMlI_OZQ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ob.K5ccP0OHHvCPPDdztA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sreU9HkuY0i9q52s4sQ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FiXtyzCE2nHGEZ51Usqg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fb01ngPekCExRVfqCSs5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7EF_mHuskWhZanRbcHtEA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b7aynE_063xvOyI9beXA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B2c2U3ck61IVQ5DpZmNQ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JOx2mwfEyLOwsIs19pKQ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9NpTqqaSkyn6x_oVnvkxw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9ECXxgVrkuGyedqjVx9ww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Kz.q48XUu6UEXq_.B4Vw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8XqqBUjUSE234jhvO2oQ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.mLhychkGoSe79wX1UMQ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Ot_2Wrb0S3ZH2X26ib3Q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.vV7PMDEKZzCKO.PKfa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Prcfv1aUiod_ckPwYlyA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UzFiihn0SjWy6JAFH5KA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rhWacVZUuFhfi2GRKpoA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IzlY5UFE2ofKGHcDoMZw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nCnbXVbFkOPVDXozvde2g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zHcXWd2hkajq6PCbzQ3ZQ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m30HaEbEue8.xo2uVX3g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pHs73C7kuiXQ75Qb6zYA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7tzsSrRkuF8YJvyHagoA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kNjiV1NjEGIEI3t3qmCMg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Cc4xw_fZESaQf5h.644y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skR60200iQyOh9OrU14g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srIx1m5kOPEGT5m01kYg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1eIGd1RRUWuCzJ3Tdl01A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xDPo1bo0.nbLRcrEkYLg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88A4f8DdEm7AnzEZtA26A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eLt_2Bu4Eea9miaw_F8ww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7EF_mHuskWhZanRbcHtEA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Prcfv1aUiod_ckPwYlyA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skR60200iQyOh9OrU14g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h7e7GuPEO96.1TLmV5Lg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ZlN5uG1S02jLSpwMPNIg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h7e7GuPEO96.1TLmV5Lg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cAzDZW0.6f3dL5kxLgg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aD5ZW0cpUmfROV0S8GjhQ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m5P78xe0CE9LPUC7P5RA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u65HNfvEq2JpmKx6Vbgg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hKx4Wm6UurySWSyrC2Ww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ZlN5uG1S02jLSpwMPNIgQ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0K99oSlZkyXygpCTYWF3A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mX8YHDwskegd1w6ja_CAQ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0K99oSlZkyXygpCTYWF3A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mX8YHDwskegd1w6ja_CA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ZlN5uG1S02jLSpwMPNIgQ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PNrpJa_FkCii82IXyrdCw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PNrpJa_FkCii82IXyrdCw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PNrpJa_FkCii82IXyrdCw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u65HNfvEq2JpmKx6Vbgg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hKx4Wm6UurySWSyrC2Ww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  <p:tag name="THINKCELLSHAPEDONOTDELETE" val="pnLLa.fC9ZUmhnOXhJ01Ykw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wGG6suMXkmjh19_MjCpSA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OsuyOID_ESCjdoNPt5Q1Q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5Js3sHREiQG1_B0S889A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lNrKuB3keOmwxMlI_OZ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cAzDZW0.6f3dL5kxLgg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ob.K5ccP0OHHvCPPDdztA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sreU9HkuY0i9q52s4sQ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FiXtyzCE2nHGEZ51Usqg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fb01ngPekCExRVfqCSs5g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b7aynE_063xvOyI9beXA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B2c2U3ck61IVQ5DpZmNQ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JOx2mwfEyLOwsIs19pKQ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9NpTqqaSkyn6x_oVnvkxw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9ECXxgVrkuGyedqjVx9ww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Kz.q48XUu6UEXq_.B4V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aD5ZW0cpUmfROV0S8GjhQ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8XqqBUjUSE234jhvO2oQ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.mLhychkGoSe79wX1UMQ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Ot_2Wrb0S3ZH2X26ib3Q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.vV7PMDEKZzCKO.PKfag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UzFiihn0SjWy6JAFH5KA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rhWacVZUuFhfi2GRKpoA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IzlY5UFE2ofKGHcDoMZw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nCnbXVbFkOPVDXozvde2g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zHcXWd2hkajq6PCbzQ3ZQ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m30HaEbEue8.xo2uVX3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m5P78xe0CE9LPUC7P5RA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pHs73C7kuiXQ75Qb6zYA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7tzsSrRkuF8YJvyHagoA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kNjiV1NjEGIEI3t3qmCMg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Cc4xw_fZESaQf5h.644yA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srIx1m5kOPEGT5m01kYg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1eIGd1RRUWuCzJ3Tdl01A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xDPo1bo0.nbLRcrEkYLg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88A4f8DdEm7AnzEZtA26A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eLt_2Bu4Eea9miaw_F8ww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7EF_mHuskWhZanRbcHtE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mX8YHDwskegd1w6ja_CAQ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Prcfv1aUiod_ckPwYlyA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skR60200iQyOh9OrU14g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h7e7GuPEO96.1TLmV5Lg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ZlN5uG1S02jLSpwMPNIgQ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cAzDZW0.6f3dL5kxLgg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aD5ZW0cpUmfROV0S8GjhQ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m5P78xe0CE9LPUC7P5RA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u65HNfvEq2JpmKx6Vbgg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u65HNfvEq2JpmKx6Vbgg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hKx4Wm6UurySWSyrC2W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u65HNfvEq2JpmKx6Vbg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ZlN5uG1S02jLSpwMPNIgQ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hKx4Wm6UurySWSyrC2Ww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ZlN5uG1S02jLSpwMPNIgQ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mX8YHDwskegd1w6ja_CAQ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0K99oSlZkyXygpCTYWF3A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0K99oSlZkyXygpCTYWF3A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mX8YHDwskegd1w6ja_CAQ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PNrpJa_FkCii82IXyrdCw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PNrpJa_FkCii82IXyrdCw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PNrpJa_FkCii82IXyrdCw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PNrpJa_FkCii82IXyrdC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0K99oSlZkyXygpCTYWF3A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u65HNfvEq2JpmKx6Vbgg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hKx4Wm6UurySWSyrC2Ww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  <p:tag name="THINKCELLSHAPEDONOTDELETE" val="pnLLa.fC9ZUmhnOXhJ01Ykw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wGG6suMXkmjh19_MjCpSA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OsuyOID_ESCjdoNPt5Q1Q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5Js3sHREiQG1_B0S889A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lNrKuB3keOmwxMlI_OZQ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ob.K5ccP0OHHvCPPDdztA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sreU9HkuY0i9q52s4sQ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FiXtyzCE2nHGEZ51Usq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0K99oSlZkyXygpCTYWF3A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fb01ngPekCExRVfqCSs5g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b7aynE_063xvOyI9beXA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B2c2U3ck61IVQ5DpZmNQ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JOx2mwfEyLOwsIs19pKQ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9NpTqqaSkyn6x_oVnvkxw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9ECXxgVrkuGyedqjVx9ww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Kz.q48XUu6UEXq_.B4Vw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8XqqBUjUSE234jhvO2oQ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.mLhychkGoSe79wX1UMQ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Ot_2Wrb0S3ZH2X26ib3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mX8YHDwskegd1w6ja_CAQ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.vV7PMDEKZzCKO.PKfag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UzFiihn0SjWy6JAFH5KA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rhWacVZUuFhfi2GRKpoA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IzlY5UFE2ofKGHcDoMZw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nCnbXVbFkOPVDXozvde2g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zHcXWd2hkajq6PCbzQ3ZQ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m30HaEbEue8.xo2uVX3g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pHs73C7kuiXQ75Qb6zYA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7tzsSrRkuF8YJvyHagoA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kNjiV1NjEGIEI3t3qmCM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PNrpJa_FkCii82IXyrdCw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Cc4xw_fZESaQf5h.644yA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srIx1m5kOPEGT5m01kYg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1eIGd1RRUWuCzJ3Tdl01A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xDPo1bo0.nbLRcrEkYLg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88A4f8DdEm7AnzEZtA26A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eLt_2Bu4Eea9miaw_F8ww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7EF_mHuskWhZanRbcHtEA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Prcfv1aUiod_ckPwYlyA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skR60200iQyOh9OrU14g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h7e7GuPEO96.1TLmV5L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mX8YHDwskegd1w6ja_CAQ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ZlN5uG1S02jLSpwMPNIgQ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cAzDZW0.6f3dL5kxLgg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aD5ZW0cpUmfROV0S8GjhQ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m5P78xe0CE9LPUC7P5RA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u65HNfvEq2JpmKx6Vbgg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u65HNfvEq2JpmKx6Vbgg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hKx4Wm6UurySWSyrC2Ww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hKx4Wm6UurySWSyrC2Ww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u65HNfvEq2JpmKx6Vbgg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hKx4Wm6UurySWSyrC2W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PNrpJa_FkCii82IXyrdCw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ZlN5uG1S02jLSpwMPNIgQ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0K99oSlZkyXygpCTYWF3A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0K99oSlZkyXygpCTYWF3A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mX8YHDwskegd1w6ja_CAQ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mX8YHDwskegd1w6ja_CA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PNrpJa_FkCii82IXyrdC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u65HNfvEq2JpmKx6Vbg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hKx4Wm6UurySWSyrC2W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hKx4Wm6UurySWSyrC2W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  <p:tag name="THINKCELLSHAPEDONOTDELETE" val="pnLLa.fC9ZUmhnOXhJ01Yk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wGG6suMXkmjh19_MjCpS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OsuyOID_ESCjdoNPt5Q1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5Js3sHREiQG1_B0S889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lNrKuB3keOmwxMlI_OZ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ob.K5ccP0OHHvCPPDdzt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sreU9HkuY0i9q52s4s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FiXtyzCE2nHGEZ51Usq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fb01ngPekCExRVfqCSs5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b7aynE_063xvOyI9beX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  <p:tag name="THINKCELLSHAPEDONOTDELETE" val="pnLLa.fC9ZUmhnOXhJ01Yk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B2c2U3ck61IVQ5DpZmN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JOx2mwfEyLOwsIs19pK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9NpTqqaSkyn6x_oVnvkx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9ECXxgVrkuGyedqjVx9w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Kz.q48XUu6UEXq_.B4V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8XqqBUjUSE234jhvO2o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.mLhychkGoSe79wX1UM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Ot_2Wrb0S3ZH2X26ib3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.vV7PMDEKZzCKO.PKfa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UzFiihn0SjWy6JAFH5K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wGG6suMXkmjh19_MjCpS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rhWacVZUuFhfi2GRKpo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IzlY5UFE2ofKGHcDoMZ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nCnbXVbFkOPVDXozvde2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zHcXWd2hkajq6PCbzQ3Z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m30HaEbEue8.xo2uVX3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pHs73C7kuiXQ75Qb6zY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7tzsSrRkuF8YJvyHago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kNjiV1NjEGIEI3t3qmCM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Cc4xw_fZESaQf5h.644y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srIx1m5kOPEGT5m01kY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OsuyOID_ESCjdoNPt5Q1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1eIGd1RRUWuCzJ3Tdl01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xDPo1bo0.nbLRcrEkYL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88A4f8DdEm7AnzEZtA26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eLt_2Bu4Eea9miaw_F8w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7EF_mHuskWhZanRbcHtE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Prcfv1aUiod_ckPwYly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skR60200iQyOh9OrU14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h7e7GuPEO96.1TLmV5L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ZlN5uG1S02jLSpwMPNIg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cAzDZW0.6f3dL5kxLgg"/>
</p:tagLst>
</file>

<file path=ppt/theme/theme1.xml><?xml version="1.0" encoding="utf-8"?>
<a:theme xmlns:a="http://schemas.openxmlformats.org/drawingml/2006/main" name="PPT Master Fujitsu Forum 2012 16-9">
  <a:themeElements>
    <a:clrScheme name="Fujitsu">
      <a:dk1>
        <a:srgbClr val="000000"/>
      </a:dk1>
      <a:lt1>
        <a:srgbClr val="FFFFFF"/>
      </a:lt1>
      <a:dk2>
        <a:srgbClr val="87867E"/>
      </a:dk2>
      <a:lt2>
        <a:srgbClr val="DAD9D6"/>
      </a:lt2>
      <a:accent1>
        <a:srgbClr val="FF0000"/>
      </a:accent1>
      <a:accent2>
        <a:srgbClr val="A30B1A"/>
      </a:accent2>
      <a:accent3>
        <a:srgbClr val="861718"/>
      </a:accent3>
      <a:accent4>
        <a:srgbClr val="681A14"/>
      </a:accent4>
      <a:accent5>
        <a:srgbClr val="48190A"/>
      </a:accent5>
      <a:accent6>
        <a:srgbClr val="3C3C35"/>
      </a:accent6>
      <a:hlink>
        <a:srgbClr val="1782DB"/>
      </a:hlink>
      <a:folHlink>
        <a:srgbClr val="FF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rtlCol="0" anchor="t" anchorCtr="0"/>
      <a:lstStyle>
        <a:defPPr algn="ctr"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Master-16-9-RED-FTS Internal">
  <a:themeElements>
    <a:clrScheme name="Fujitsu">
      <a:dk1>
        <a:srgbClr val="000000"/>
      </a:dk1>
      <a:lt1>
        <a:srgbClr val="FFFFFF"/>
      </a:lt1>
      <a:dk2>
        <a:srgbClr val="87867E"/>
      </a:dk2>
      <a:lt2>
        <a:srgbClr val="DAD9D6"/>
      </a:lt2>
      <a:accent1>
        <a:srgbClr val="FF0000"/>
      </a:accent1>
      <a:accent2>
        <a:srgbClr val="A30B1A"/>
      </a:accent2>
      <a:accent3>
        <a:srgbClr val="861718"/>
      </a:accent3>
      <a:accent4>
        <a:srgbClr val="681A14"/>
      </a:accent4>
      <a:accent5>
        <a:srgbClr val="48190A"/>
      </a:accent5>
      <a:accent6>
        <a:srgbClr val="3C3C35"/>
      </a:accent6>
      <a:hlink>
        <a:srgbClr val="1782DB"/>
      </a:hlink>
      <a:folHlink>
        <a:srgbClr val="FF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rtlCol="0" anchor="t" anchorCtr="0"/>
      <a:lstStyle>
        <a:defPPr algn="ctr"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Larissa-Design">
  <a:themeElements>
    <a:clrScheme name="Fujitsu">
      <a:dk1>
        <a:srgbClr val="000000"/>
      </a:dk1>
      <a:lt1>
        <a:srgbClr val="FFFFFF"/>
      </a:lt1>
      <a:dk2>
        <a:srgbClr val="87867E"/>
      </a:dk2>
      <a:lt2>
        <a:srgbClr val="DAD9D6"/>
      </a:lt2>
      <a:accent1>
        <a:srgbClr val="FF0000"/>
      </a:accent1>
      <a:accent2>
        <a:srgbClr val="A30B1A"/>
      </a:accent2>
      <a:accent3>
        <a:srgbClr val="861718"/>
      </a:accent3>
      <a:accent4>
        <a:srgbClr val="681A14"/>
      </a:accent4>
      <a:accent5>
        <a:srgbClr val="48190A"/>
      </a:accent5>
      <a:accent6>
        <a:srgbClr val="3C3C35"/>
      </a:accent6>
      <a:hlink>
        <a:srgbClr val="1782DB"/>
      </a:hlink>
      <a:folHlink>
        <a:srgbClr val="FF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Fujitsu">
      <a:dk1>
        <a:srgbClr val="000000"/>
      </a:dk1>
      <a:lt1>
        <a:srgbClr val="FFFFFF"/>
      </a:lt1>
      <a:dk2>
        <a:srgbClr val="87867E"/>
      </a:dk2>
      <a:lt2>
        <a:srgbClr val="DAD9D6"/>
      </a:lt2>
      <a:accent1>
        <a:srgbClr val="FF0000"/>
      </a:accent1>
      <a:accent2>
        <a:srgbClr val="A30B1A"/>
      </a:accent2>
      <a:accent3>
        <a:srgbClr val="861718"/>
      </a:accent3>
      <a:accent4>
        <a:srgbClr val="681A14"/>
      </a:accent4>
      <a:accent5>
        <a:srgbClr val="48190A"/>
      </a:accent5>
      <a:accent6>
        <a:srgbClr val="3C3C35"/>
      </a:accent6>
      <a:hlink>
        <a:srgbClr val="1782DB"/>
      </a:hlink>
      <a:folHlink>
        <a:srgbClr val="FF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http://schemas.microsoft.com/sharepoint/v3" xsi:nil="true"/>
    <DmstdPermalinkID xmlns="4bd79884-acf2-483c-9a3b-ba8db5496da9">69e828ea-22b3-443e-a3c1-35b5ce56f7cc</DmstdPermalinkID>
    <DmstdProductID xmlns="4bd79884-acf2-483c-9a3b-ba8db5496da9">PC_FOL_Monitor</DmstdProductID>
    <DmstdLanguage xmlns="4bd79884-acf2-483c-9a3b-ba8db5496da9">en</DmstdLanguage>
    <DmstdKeywords xmlns="4bd79884-acf2-483c-9a3b-ba8db5496da9" xsi:nil="true"/>
    <DmstdCountry xmlns="4bd79884-acf2-483c-9a3b-ba8db5496da9">INT</DmstdCountry>
    <DmstdPublishingDate xmlns="4bd79884-acf2-483c-9a3b-ba8db5496da9">2016-08-31T22:00:00+00:00</DmstdPublishingDate>
    <DmstdExpirationDate xmlns="4bd79884-acf2-483c-9a3b-ba8db5496da9" xsi:nil="true"/>
    <DmstdTargetGroup xmlns="4bd79884-acf2-483c-9a3b-ba8db5496da9">PartnerAll</DmstdTargetGroup>
    <DmstdDocumentClass xmlns="4bd79884-acf2-483c-9a3b-ba8db5496da9">Product_Slide_Set</DmstdDocumentClass>
    <DmstdBusinessOwner xmlns="4bd79884-acf2-483c-9a3b-ba8db5496da9">barbara.wagner-geh@ts.fujitsu.com</DmstdBusinessOwner>
    <DmstdPublishedVersion xmlns="4bd79884-acf2-483c-9a3b-ba8db5496da9">87.0</DmstdPublishedVersion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MS-P Target Document" ma:contentTypeID="0x010100C3026355B3B34AA78DB56CCE5623D67A00F49483CB1E664844B987C67816D77E6D" ma:contentTypeVersion="2" ma:contentTypeDescription="Fujitsu DMS-P Document" ma:contentTypeScope="" ma:versionID="65153d75051795760134c84be21fa708">
  <xsd:schema xmlns:xsd="http://www.w3.org/2001/XMLSchema" xmlns:xs="http://www.w3.org/2001/XMLSchema" xmlns:p="http://schemas.microsoft.com/office/2006/metadata/properties" xmlns:ns1="http://schemas.microsoft.com/sharepoint/v3" xmlns:ns2="4bd79884-acf2-483c-9a3b-ba8db5496da9" targetNamespace="http://schemas.microsoft.com/office/2006/metadata/properties" ma:root="true" ma:fieldsID="24d5e1a6606e8c497bae7b169e1bf041" ns1:_="" ns2:_="">
    <xsd:import namespace="http://schemas.microsoft.com/sharepoint/v3"/>
    <xsd:import namespace="4bd79884-acf2-483c-9a3b-ba8db5496da9"/>
    <xsd:element name="properties">
      <xsd:complexType>
        <xsd:sequence>
          <xsd:element name="documentManagement">
            <xsd:complexType>
              <xsd:all>
                <xsd:element ref="ns1:Comments" minOccurs="0"/>
                <xsd:element ref="ns2:DmstdPublishingDate" minOccurs="0"/>
                <xsd:element ref="ns2:DmstdExpirationDate" minOccurs="0"/>
                <xsd:element ref="ns2:DmstdKeywords" minOccurs="0"/>
                <xsd:element ref="ns2:DmstdProductID" minOccurs="0"/>
                <xsd:element ref="ns2:DmstdTargetGroup" minOccurs="0"/>
                <xsd:element ref="ns2:DmstdDocumentClass" minOccurs="0"/>
                <xsd:element ref="ns2:DmstdLanguage" minOccurs="0"/>
                <xsd:element ref="ns2:DmstdCountry" minOccurs="0"/>
                <xsd:element ref="ns2:DmstdBusinessOwner" minOccurs="0"/>
                <xsd:element ref="ns2:DmstdPublishedVersion" minOccurs="0"/>
                <xsd:element ref="ns2:DmstdPermalink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Comments" ma:index="5" nillable="true" ma:displayName="Comments" ma:internalName="Comme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bd79884-acf2-483c-9a3b-ba8db5496da9" elementFormDefault="qualified">
    <xsd:import namespace="http://schemas.microsoft.com/office/2006/documentManagement/types"/>
    <xsd:import namespace="http://schemas.microsoft.com/office/infopath/2007/PartnerControls"/>
    <xsd:element name="DmstdPublishingDate" ma:index="9" nillable="true" ma:displayName="Publishing Date" ma:description="" ma:format="DateOnly" ma:internalName="DmstdPublishingDate" ma:readOnly="true">
      <xsd:simpleType>
        <xsd:restriction base="dms:DateTime"/>
      </xsd:simpleType>
    </xsd:element>
    <xsd:element name="DmstdExpirationDate" ma:index="10" nillable="true" ma:displayName="Expiration Date" ma:description="" ma:format="DateOnly" ma:internalName="DmstdExpirationDate" ma:readOnly="true">
      <xsd:simpleType>
        <xsd:restriction base="dms:DateTime"/>
      </xsd:simpleType>
    </xsd:element>
    <xsd:element name="DmstdKeywords" ma:index="11" nillable="true" ma:displayName="Keywords" ma:description="" ma:internalName="DmstdKeywords" ma:readOnly="true">
      <xsd:simpleType>
        <xsd:restriction base="dms:Text"/>
      </xsd:simpleType>
    </xsd:element>
    <xsd:element name="DmstdProductID" ma:index="12" nillable="true" ma:displayName="ProductID" ma:description="" ma:internalName="DmstdProductID" ma:readOnly="true">
      <xsd:simpleType>
        <xsd:restriction base="dms:Text"/>
      </xsd:simpleType>
    </xsd:element>
    <xsd:element name="DmstdTargetGroup" ma:index="13" nillable="true" ma:displayName="Target Group" ma:description="" ma:internalName="DmstdTargetGroup" ma:readOnly="true">
      <xsd:simpleType>
        <xsd:restriction base="dms:Text"/>
      </xsd:simpleType>
    </xsd:element>
    <xsd:element name="DmstdDocumentClass" ma:index="14" nillable="true" ma:displayName="Document Class" ma:description="" ma:internalName="DmstdDocumentClass" ma:readOnly="true">
      <xsd:simpleType>
        <xsd:restriction base="dms:Text"/>
      </xsd:simpleType>
    </xsd:element>
    <xsd:element name="DmstdLanguage" ma:index="15" nillable="true" ma:displayName="Language" ma:description="" ma:internalName="DmstdLanguage" ma:readOnly="true">
      <xsd:simpleType>
        <xsd:restriction base="dms:Text"/>
      </xsd:simpleType>
    </xsd:element>
    <xsd:element name="DmstdCountry" ma:index="16" nillable="true" ma:displayName="Country" ma:description="" ma:internalName="DmstdCountry" ma:readOnly="true">
      <xsd:simpleType>
        <xsd:restriction base="dms:Text"/>
      </xsd:simpleType>
    </xsd:element>
    <xsd:element name="DmstdBusinessOwner" ma:index="17" nillable="true" ma:displayName="Business Owner" ma:description="" ma:internalName="DmstdBusinessOwner" ma:readOnly="true">
      <xsd:simpleType>
        <xsd:restriction base="dms:Text"/>
      </xsd:simpleType>
    </xsd:element>
    <xsd:element name="DmstdPublishedVersion" ma:index="18" nillable="true" ma:displayName="Published Version" ma:description="" ma:internalName="DmstdPublishedVersion" ma:readOnly="true">
      <xsd:simpleType>
        <xsd:restriction base="dms:Text"/>
      </xsd:simpleType>
    </xsd:element>
    <xsd:element name="DmstdPermalinkID" ma:index="19" nillable="true" ma:displayName="PermalinkID" ma:description="" ma:indexed="true" ma:internalName="DmstdPermalinkID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D52A18B-FD68-489B-AD76-6D68221E8141}">
  <ds:schemaRefs>
    <ds:schemaRef ds:uri="4bd79884-acf2-483c-9a3b-ba8db5496da9"/>
    <ds:schemaRef ds:uri="http://purl.org/dc/dcmitype/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http://purl.org/dc/elements/1.1/"/>
    <ds:schemaRef ds:uri="http://schemas.microsoft.com/office/2006/documentManagement/types"/>
    <ds:schemaRef ds:uri="http://schemas.openxmlformats.org/package/2006/metadata/core-properties"/>
  </ds:schemaRefs>
</ds:datastoreItem>
</file>

<file path=customXml/itemProps2.xml><?xml version="1.0" encoding="utf-8"?>
<ds:datastoreItem xmlns:ds="http://schemas.openxmlformats.org/officeDocument/2006/customXml" ds:itemID="{C9C20349-F5BC-4875-80F6-90FDEB0F900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4bd79884-acf2-483c-9a3b-ba8db5496da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BACE011D-F201-4DF3-950B-CC4D93FBC12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T Master Fujitsu Forum 2012 16-9</Template>
  <TotalTime>0</TotalTime>
  <Words>738</Words>
  <Application>Microsoft Office PowerPoint</Application>
  <PresentationFormat>On-screen Show (16:9)</PresentationFormat>
  <Paragraphs>204</Paragraphs>
  <Slides>7</Slides>
  <Notes>4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7</vt:i4>
      </vt:variant>
    </vt:vector>
  </HeadingPairs>
  <TitlesOfParts>
    <vt:vector size="13" baseType="lpstr">
      <vt:lpstr>ＭＳ Ｐゴシック</vt:lpstr>
      <vt:lpstr>MS UI Gothic</vt:lpstr>
      <vt:lpstr>Arial</vt:lpstr>
      <vt:lpstr>Wingdings</vt:lpstr>
      <vt:lpstr>PPT Master Fujitsu Forum 2012 16-9</vt:lpstr>
      <vt:lpstr>Master-16-9-RED-FTS Internal</vt:lpstr>
      <vt:lpstr> Roadmap Displays</vt:lpstr>
      <vt:lpstr>Segmentation of FUJITSU Displays</vt:lpstr>
      <vt:lpstr>Portfolio Roadmap Displays</vt:lpstr>
      <vt:lpstr>Product Overview Superior</vt:lpstr>
      <vt:lpstr>Product Overview Advanced</vt:lpstr>
      <vt:lpstr>Product Overview All-round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: Customer Roadmap Displays  Issue: 09/2016</dc:title>
  <dc:creator/>
  <cp:lastModifiedBy/>
  <cp:revision>1</cp:revision>
  <dcterms:created xsi:type="dcterms:W3CDTF">2013-02-28T15:52:54Z</dcterms:created>
  <dcterms:modified xsi:type="dcterms:W3CDTF">2016-09-07T05:00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MSPStagingDocumentClass">
    <vt:lpwstr>Product_Slide_Set</vt:lpwstr>
  </property>
  <property fmtid="{D5CDD505-2E9C-101B-9397-08002B2CF9AE}" pid="3" name="DMSPStagingCountry">
    <vt:lpwstr>INT</vt:lpwstr>
  </property>
  <property fmtid="{D5CDD505-2E9C-101B-9397-08002B2CF9AE}" pid="4" name="StatusDate">
    <vt:lpwstr>2009-04-07T09:35:50+00:00</vt:lpwstr>
  </property>
  <property fmtid="{D5CDD505-2E9C-101B-9397-08002B2CF9AE}" pid="5" name="Order">
    <vt:r8>3000</vt:r8>
  </property>
  <property fmtid="{D5CDD505-2E9C-101B-9397-08002B2CF9AE}" pid="6" name="DMSPStagingBusinessOwner">
    <vt:lpwstr>barbara.wagner-geh@ts.fujitsu.com</vt:lpwstr>
  </property>
  <property fmtid="{D5CDD505-2E9C-101B-9397-08002B2CF9AE}" pid="7" name="DMSPStatus">
    <vt:lpwstr>not published</vt:lpwstr>
  </property>
  <property fmtid="{D5CDD505-2E9C-101B-9397-08002B2CF9AE}" pid="8" name="Views">
    <vt:lpwstr>PC_FOL_Monitor</vt:lpwstr>
  </property>
  <property fmtid="{D5CDD505-2E9C-101B-9397-08002B2CF9AE}" pid="9" name="xd_ProgID">
    <vt:lpwstr/>
  </property>
  <property fmtid="{D5CDD505-2E9C-101B-9397-08002B2CF9AE}" pid="10" name="DMSPFeedingLastActionDate">
    <vt:lpwstr/>
  </property>
  <property fmtid="{D5CDD505-2E9C-101B-9397-08002B2CF9AE}" pid="11" name="DMSPStagingStatus">
    <vt:lpwstr>publishing in progress</vt:lpwstr>
  </property>
  <property fmtid="{D5CDD505-2E9C-101B-9397-08002B2CF9AE}" pid="12" name="ContentTypeId">
    <vt:lpwstr>0x010100C3026355B3B34AA78DB56CCE5623D67A00F49483CB1E664844B987C67816D77E6D</vt:lpwstr>
  </property>
  <property fmtid="{D5CDD505-2E9C-101B-9397-08002B2CF9AE}" pid="13" name="ViewsSelector">
    <vt:lpwstr>PC_FOL_Monitor</vt:lpwstr>
  </property>
  <property fmtid="{D5CDD505-2E9C-101B-9397-08002B2CF9AE}" pid="14" name="DMSPFeedingRetries">
    <vt:lpwstr/>
  </property>
  <property fmtid="{D5CDD505-2E9C-101B-9397-08002B2CF9AE}" pid="15" name="BusinessOwner">
    <vt:lpwstr>barbara.wagner-geh@ts.fujitsu.com</vt:lpwstr>
  </property>
  <property fmtid="{D5CDD505-2E9C-101B-9397-08002B2CF9AE}" pid="16" name="DMSPStagingPublishingDate">
    <vt:lpwstr>2009-04-06T22:00:00+00:00</vt:lpwstr>
  </property>
  <property fmtid="{D5CDD505-2E9C-101B-9397-08002B2CF9AE}" pid="17" name="PublishingDate">
    <vt:lpwstr>2009-04-06T22:00:00+00:00</vt:lpwstr>
  </property>
  <property fmtid="{D5CDD505-2E9C-101B-9397-08002B2CF9AE}" pid="18" name="DMSPStagingVersion">
    <vt:lpwstr>1.0</vt:lpwstr>
  </property>
  <property fmtid="{D5CDD505-2E9C-101B-9397-08002B2CF9AE}" pid="19" name="DocID">
    <vt:lpwstr>69e828ea-22b3-443e-a3c1-35b5ce56f7cc</vt:lpwstr>
  </property>
  <property fmtid="{D5CDD505-2E9C-101B-9397-08002B2CF9AE}" pid="20" name="TemplateUrl">
    <vt:lpwstr/>
  </property>
  <property fmtid="{D5CDD505-2E9C-101B-9397-08002B2CF9AE}" pid="21" name="DMSPStagingProductID">
    <vt:lpwstr>PC_FOL_Monitor</vt:lpwstr>
  </property>
  <property fmtid="{D5CDD505-2E9C-101B-9397-08002B2CF9AE}" pid="22" name="DMSPStagingKeywords">
    <vt:lpwstr>--</vt:lpwstr>
  </property>
  <property fmtid="{D5CDD505-2E9C-101B-9397-08002B2CF9AE}" pid="23" name="DmsptDocumentClass">
    <vt:lpwstr>2155;#Product_Slide_Set|918d2af9-53fd-4416-90b0-6b0516d4c78d</vt:lpwstr>
  </property>
  <property fmtid="{D5CDD505-2E9C-101B-9397-08002B2CF9AE}" pid="24" name="DmsptProductID">
    <vt:lpwstr>1581;#PC_FOL_Monitor|4d0ec62f-8484-407d-b4e1-6cd1d21ec305</vt:lpwstr>
  </property>
  <property fmtid="{D5CDD505-2E9C-101B-9397-08002B2CF9AE}" pid="25" name="DmsetCountry">
    <vt:lpwstr>108;#INT|1fe11aef-267e-4d03-81c3-f7ada8e07c3f</vt:lpwstr>
  </property>
  <property fmtid="{D5CDD505-2E9C-101B-9397-08002B2CF9AE}" pid="26" name="DmsptTargetGroup">
    <vt:lpwstr>3;#PartnerAll|ef2c30ad-2217-4ab1-af01-e9aa96a0e79c</vt:lpwstr>
  </property>
  <property fmtid="{D5CDD505-2E9C-101B-9397-08002B2CF9AE}" pid="27" name="DmsptKeywords">
    <vt:lpwstr/>
  </property>
  <property fmtid="{D5CDD505-2E9C-101B-9397-08002B2CF9AE}" pid="28" name="RetentionPeriod">
    <vt:lpwstr>Do not retain</vt:lpwstr>
  </property>
  <property fmtid="{D5CDD505-2E9C-101B-9397-08002B2CF9AE}" pid="29" name="DmsetLanguage">
    <vt:lpwstr>94;#en|08d53672-91fb-4344-9f6e-c4077da3d8bc</vt:lpwstr>
  </property>
</Properties>
</file>